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716" r:id="rId5"/>
    <p:sldMasterId id="2147483728" r:id="rId6"/>
  </p:sldMasterIdLst>
  <p:notesMasterIdLst>
    <p:notesMasterId r:id="rId15"/>
  </p:notesMasterIdLst>
  <p:sldIdLst>
    <p:sldId id="256" r:id="rId7"/>
    <p:sldId id="284" r:id="rId8"/>
    <p:sldId id="285" r:id="rId9"/>
    <p:sldId id="269" r:id="rId10"/>
    <p:sldId id="1002" r:id="rId11"/>
    <p:sldId id="1009" r:id="rId12"/>
    <p:sldId id="278" r:id="rId13"/>
    <p:sldId id="270" r:id="rId14"/>
  </p:sldIdLst>
  <p:sldSz cx="12192000" cy="6858000"/>
  <p:notesSz cx="6858000" cy="9525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RROY, Hélène" initials="BH" lastIdx="5" clrIdx="0">
    <p:extLst>
      <p:ext uri="{19B8F6BF-5375-455C-9EA6-DF929625EA0E}">
        <p15:presenceInfo xmlns:p15="http://schemas.microsoft.com/office/powerpoint/2012/main" userId="S::barroyh@who.int::f32a89b5-b35d-4434-b19f-edab5a27f69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BCE3"/>
    <a:srgbClr val="76CCF2"/>
    <a:srgbClr val="66CCFF"/>
    <a:srgbClr val="8ADDFA"/>
    <a:srgbClr val="4590B9"/>
    <a:srgbClr val="1F4E79"/>
    <a:srgbClr val="0432FF"/>
    <a:srgbClr val="0118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656"/>
    <p:restoredTop sz="93701" autoAdjust="0"/>
  </p:normalViewPr>
  <p:slideViewPr>
    <p:cSldViewPr snapToGrid="0" snapToObjects="1">
      <p:cViewPr varScale="1">
        <p:scale>
          <a:sx n="66" d="100"/>
          <a:sy n="66" d="100"/>
        </p:scale>
        <p:origin x="96" y="83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6F57C58-CBED-4C4D-BCEF-668313159977}" type="doc">
      <dgm:prSet loTypeId="urn:microsoft.com/office/officeart/2008/layout/Lin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C092DB0-6564-4487-9771-46B489CF78B4}">
      <dgm:prSet/>
      <dgm:spPr/>
      <dgm:t>
        <a:bodyPr/>
        <a:lstStyle/>
        <a:p>
          <a:r>
            <a:rPr lang="fr-FR" noProof="0" dirty="0"/>
            <a:t>Enquête électronique Web sur les modalités de GFP pour la réponse sanitaire à la COVID-19
</a:t>
          </a:r>
          <a:endParaRPr lang="en-US" noProof="0" dirty="0"/>
        </a:p>
      </dgm:t>
    </dgm:pt>
    <dgm:pt modelId="{87BA911A-73C8-448A-A133-7B360FD9E8A4}" type="parTrans" cxnId="{345B9C86-A957-43CC-99D2-37D4F82DE393}">
      <dgm:prSet/>
      <dgm:spPr/>
      <dgm:t>
        <a:bodyPr/>
        <a:lstStyle/>
        <a:p>
          <a:endParaRPr lang="en-US" noProof="0" dirty="0"/>
        </a:p>
      </dgm:t>
    </dgm:pt>
    <dgm:pt modelId="{759B0731-BD5F-4890-828D-C8ED5F527600}" type="sibTrans" cxnId="{345B9C86-A957-43CC-99D2-37D4F82DE393}">
      <dgm:prSet/>
      <dgm:spPr/>
      <dgm:t>
        <a:bodyPr/>
        <a:lstStyle/>
        <a:p>
          <a:endParaRPr lang="en-US" noProof="0" dirty="0"/>
        </a:p>
      </dgm:t>
    </dgm:pt>
    <dgm:pt modelId="{5743C58B-6205-44D2-AAA8-9B43EE891E38}">
      <dgm:prSet/>
      <dgm:spPr/>
      <dgm:t>
        <a:bodyPr/>
        <a:lstStyle/>
        <a:p>
          <a:r>
            <a:rPr lang="fr-FR" noProof="0" dirty="0"/>
            <a:t>Évaluation quantitative des allocations budgétaires pour la réponse sanitaire à la COVID-19
</a:t>
          </a:r>
          <a:endParaRPr lang="en-US" noProof="0" dirty="0"/>
        </a:p>
      </dgm:t>
    </dgm:pt>
    <dgm:pt modelId="{6791572D-A565-4D7A-981C-249C1AF667F5}" type="parTrans" cxnId="{5FFDC9A9-4EBE-4E35-AB0F-18C8F08434A9}">
      <dgm:prSet/>
      <dgm:spPr/>
      <dgm:t>
        <a:bodyPr/>
        <a:lstStyle/>
        <a:p>
          <a:endParaRPr lang="en-US" noProof="0" dirty="0"/>
        </a:p>
      </dgm:t>
    </dgm:pt>
    <dgm:pt modelId="{F7597E04-B920-4E5D-B532-62D98D09658F}" type="sibTrans" cxnId="{5FFDC9A9-4EBE-4E35-AB0F-18C8F08434A9}">
      <dgm:prSet/>
      <dgm:spPr/>
      <dgm:t>
        <a:bodyPr/>
        <a:lstStyle/>
        <a:p>
          <a:endParaRPr lang="en-US" noProof="0" dirty="0"/>
        </a:p>
      </dgm:t>
    </dgm:pt>
    <dgm:pt modelId="{03DF8B2E-88D4-49B1-9EF4-1C2811CE04EC}">
      <dgm:prSet/>
      <dgm:spPr/>
      <dgm:t>
        <a:bodyPr/>
        <a:lstStyle/>
        <a:p>
          <a:r>
            <a:rPr lang="fr-FR" noProof="0" dirty="0"/>
            <a:t>Analyse des fonds extra-budgétaires consacrés à la lutte contre la COVID-19
</a:t>
          </a:r>
          <a:endParaRPr lang="en-US" noProof="0" dirty="0"/>
        </a:p>
      </dgm:t>
    </dgm:pt>
    <dgm:pt modelId="{D1655290-1228-4A75-B529-2CC4A394587D}" type="parTrans" cxnId="{AD4477AD-9613-4864-91A0-248DDDDC5551}">
      <dgm:prSet/>
      <dgm:spPr/>
      <dgm:t>
        <a:bodyPr/>
        <a:lstStyle/>
        <a:p>
          <a:endParaRPr lang="en-US" noProof="0" dirty="0"/>
        </a:p>
      </dgm:t>
    </dgm:pt>
    <dgm:pt modelId="{624E176A-9155-45F6-90E0-E93B7DAE5692}" type="sibTrans" cxnId="{AD4477AD-9613-4864-91A0-248DDDDC5551}">
      <dgm:prSet/>
      <dgm:spPr/>
      <dgm:t>
        <a:bodyPr/>
        <a:lstStyle/>
        <a:p>
          <a:endParaRPr lang="en-US" noProof="0" dirty="0"/>
        </a:p>
      </dgm:t>
    </dgm:pt>
    <dgm:pt modelId="{CF3D88C0-11CB-4FBB-AE23-0E0DCC9F5C58}">
      <dgm:prSet/>
      <dgm:spPr/>
      <dgm:t>
        <a:bodyPr/>
        <a:lstStyle/>
        <a:p>
          <a:r>
            <a:rPr lang="fr-FR" noProof="0" dirty="0"/>
            <a:t>Étude de définition du champ des points de tension en matière de GFP pour le déploiement du vaccin anti-COVID-19
</a:t>
          </a:r>
          <a:endParaRPr lang="en-US" noProof="0" dirty="0"/>
        </a:p>
      </dgm:t>
    </dgm:pt>
    <dgm:pt modelId="{45C04E33-85B8-4EE9-A07E-F3D05F02D4EB}" type="parTrans" cxnId="{D5C06D23-F43D-4AAA-AC38-D79D2DA95C07}">
      <dgm:prSet/>
      <dgm:spPr/>
      <dgm:t>
        <a:bodyPr/>
        <a:lstStyle/>
        <a:p>
          <a:endParaRPr lang="en-US" noProof="0" dirty="0"/>
        </a:p>
      </dgm:t>
    </dgm:pt>
    <dgm:pt modelId="{EDD91253-5A77-4675-BDC2-21CE528255AD}" type="sibTrans" cxnId="{D5C06D23-F43D-4AAA-AC38-D79D2DA95C07}">
      <dgm:prSet/>
      <dgm:spPr/>
      <dgm:t>
        <a:bodyPr/>
        <a:lstStyle/>
        <a:p>
          <a:endParaRPr lang="en-US" noProof="0" dirty="0"/>
        </a:p>
      </dgm:t>
    </dgm:pt>
    <dgm:pt modelId="{D2651E8A-D557-4D01-8F99-AD3DA74E14FE}" type="pres">
      <dgm:prSet presAssocID="{A6F57C58-CBED-4C4D-BCEF-668313159977}" presName="vert0" presStyleCnt="0">
        <dgm:presLayoutVars>
          <dgm:dir/>
          <dgm:animOne val="branch"/>
          <dgm:animLvl val="lvl"/>
        </dgm:presLayoutVars>
      </dgm:prSet>
      <dgm:spPr/>
    </dgm:pt>
    <dgm:pt modelId="{D67DCC7C-FE57-43BD-AA55-A29BFB1B52C8}" type="pres">
      <dgm:prSet presAssocID="{EC092DB0-6564-4487-9771-46B489CF78B4}" presName="thickLine" presStyleLbl="alignNode1" presStyleIdx="0" presStyleCnt="4"/>
      <dgm:spPr/>
    </dgm:pt>
    <dgm:pt modelId="{4723C993-F029-4979-AB06-DA6E6A93D082}" type="pres">
      <dgm:prSet presAssocID="{EC092DB0-6564-4487-9771-46B489CF78B4}" presName="horz1" presStyleCnt="0"/>
      <dgm:spPr/>
    </dgm:pt>
    <dgm:pt modelId="{3A3A0744-34A8-4631-A10B-D0CF3F0769F0}" type="pres">
      <dgm:prSet presAssocID="{EC092DB0-6564-4487-9771-46B489CF78B4}" presName="tx1" presStyleLbl="revTx" presStyleIdx="0" presStyleCnt="4"/>
      <dgm:spPr/>
    </dgm:pt>
    <dgm:pt modelId="{A97EA197-FC13-40E0-BC1C-1B3C5EB23C0E}" type="pres">
      <dgm:prSet presAssocID="{EC092DB0-6564-4487-9771-46B489CF78B4}" presName="vert1" presStyleCnt="0"/>
      <dgm:spPr/>
    </dgm:pt>
    <dgm:pt modelId="{0138D324-E342-4B02-8B0C-25E94F7E7099}" type="pres">
      <dgm:prSet presAssocID="{5743C58B-6205-44D2-AAA8-9B43EE891E38}" presName="thickLine" presStyleLbl="alignNode1" presStyleIdx="1" presStyleCnt="4"/>
      <dgm:spPr/>
    </dgm:pt>
    <dgm:pt modelId="{3D295A99-14C1-4325-991E-E76FEEB5056A}" type="pres">
      <dgm:prSet presAssocID="{5743C58B-6205-44D2-AAA8-9B43EE891E38}" presName="horz1" presStyleCnt="0"/>
      <dgm:spPr/>
    </dgm:pt>
    <dgm:pt modelId="{A44B4B15-76C6-4926-815D-3C4B585B5236}" type="pres">
      <dgm:prSet presAssocID="{5743C58B-6205-44D2-AAA8-9B43EE891E38}" presName="tx1" presStyleLbl="revTx" presStyleIdx="1" presStyleCnt="4"/>
      <dgm:spPr/>
    </dgm:pt>
    <dgm:pt modelId="{ED3FC321-727B-4689-A2D7-957BA1DEDDB5}" type="pres">
      <dgm:prSet presAssocID="{5743C58B-6205-44D2-AAA8-9B43EE891E38}" presName="vert1" presStyleCnt="0"/>
      <dgm:spPr/>
    </dgm:pt>
    <dgm:pt modelId="{0A1EDD42-2E12-4BAE-B197-E318CF4AA482}" type="pres">
      <dgm:prSet presAssocID="{03DF8B2E-88D4-49B1-9EF4-1C2811CE04EC}" presName="thickLine" presStyleLbl="alignNode1" presStyleIdx="2" presStyleCnt="4"/>
      <dgm:spPr/>
    </dgm:pt>
    <dgm:pt modelId="{BBD3DADC-E1F5-49AB-A306-EBD924053560}" type="pres">
      <dgm:prSet presAssocID="{03DF8B2E-88D4-49B1-9EF4-1C2811CE04EC}" presName="horz1" presStyleCnt="0"/>
      <dgm:spPr/>
    </dgm:pt>
    <dgm:pt modelId="{37C83756-9BCB-484D-B727-0B1FDD0615B0}" type="pres">
      <dgm:prSet presAssocID="{03DF8B2E-88D4-49B1-9EF4-1C2811CE04EC}" presName="tx1" presStyleLbl="revTx" presStyleIdx="2" presStyleCnt="4"/>
      <dgm:spPr/>
    </dgm:pt>
    <dgm:pt modelId="{12ECB98C-6101-48E2-A719-B985A72837D7}" type="pres">
      <dgm:prSet presAssocID="{03DF8B2E-88D4-49B1-9EF4-1C2811CE04EC}" presName="vert1" presStyleCnt="0"/>
      <dgm:spPr/>
    </dgm:pt>
    <dgm:pt modelId="{A1E99317-3AEF-4E1A-8FC9-71DB1796076C}" type="pres">
      <dgm:prSet presAssocID="{CF3D88C0-11CB-4FBB-AE23-0E0DCC9F5C58}" presName="thickLine" presStyleLbl="alignNode1" presStyleIdx="3" presStyleCnt="4"/>
      <dgm:spPr/>
    </dgm:pt>
    <dgm:pt modelId="{DEC0EED2-0356-4B53-BD14-BF4C6D8A1618}" type="pres">
      <dgm:prSet presAssocID="{CF3D88C0-11CB-4FBB-AE23-0E0DCC9F5C58}" presName="horz1" presStyleCnt="0"/>
      <dgm:spPr/>
    </dgm:pt>
    <dgm:pt modelId="{08EA0E25-3120-45A7-88B2-FCEF515333D4}" type="pres">
      <dgm:prSet presAssocID="{CF3D88C0-11CB-4FBB-AE23-0E0DCC9F5C58}" presName="tx1" presStyleLbl="revTx" presStyleIdx="3" presStyleCnt="4"/>
      <dgm:spPr/>
    </dgm:pt>
    <dgm:pt modelId="{E6A5B4B2-7E83-47DD-99C3-9149FE80BAC5}" type="pres">
      <dgm:prSet presAssocID="{CF3D88C0-11CB-4FBB-AE23-0E0DCC9F5C58}" presName="vert1" presStyleCnt="0"/>
      <dgm:spPr/>
    </dgm:pt>
  </dgm:ptLst>
  <dgm:cxnLst>
    <dgm:cxn modelId="{E4084913-FA44-4520-96D6-6E45FADFC19F}" type="presOf" srcId="{CF3D88C0-11CB-4FBB-AE23-0E0DCC9F5C58}" destId="{08EA0E25-3120-45A7-88B2-FCEF515333D4}" srcOrd="0" destOrd="0" presId="urn:microsoft.com/office/officeart/2008/layout/LinedList"/>
    <dgm:cxn modelId="{D5C06D23-F43D-4AAA-AC38-D79D2DA95C07}" srcId="{A6F57C58-CBED-4C4D-BCEF-668313159977}" destId="{CF3D88C0-11CB-4FBB-AE23-0E0DCC9F5C58}" srcOrd="3" destOrd="0" parTransId="{45C04E33-85B8-4EE9-A07E-F3D05F02D4EB}" sibTransId="{EDD91253-5A77-4675-BDC2-21CE528255AD}"/>
    <dgm:cxn modelId="{9A92CF31-7DD8-4689-AC8B-2F049BA913F9}" type="presOf" srcId="{A6F57C58-CBED-4C4D-BCEF-668313159977}" destId="{D2651E8A-D557-4D01-8F99-AD3DA74E14FE}" srcOrd="0" destOrd="0" presId="urn:microsoft.com/office/officeart/2008/layout/LinedList"/>
    <dgm:cxn modelId="{345B9C86-A957-43CC-99D2-37D4F82DE393}" srcId="{A6F57C58-CBED-4C4D-BCEF-668313159977}" destId="{EC092DB0-6564-4487-9771-46B489CF78B4}" srcOrd="0" destOrd="0" parTransId="{87BA911A-73C8-448A-A133-7B360FD9E8A4}" sibTransId="{759B0731-BD5F-4890-828D-C8ED5F527600}"/>
    <dgm:cxn modelId="{F202409A-ECD1-47E2-B440-B5EB3BE0B322}" type="presOf" srcId="{5743C58B-6205-44D2-AAA8-9B43EE891E38}" destId="{A44B4B15-76C6-4926-815D-3C4B585B5236}" srcOrd="0" destOrd="0" presId="urn:microsoft.com/office/officeart/2008/layout/LinedList"/>
    <dgm:cxn modelId="{D34B93A1-40C5-4A33-8961-E7B1463340DE}" type="presOf" srcId="{EC092DB0-6564-4487-9771-46B489CF78B4}" destId="{3A3A0744-34A8-4631-A10B-D0CF3F0769F0}" srcOrd="0" destOrd="0" presId="urn:microsoft.com/office/officeart/2008/layout/LinedList"/>
    <dgm:cxn modelId="{5FFDC9A9-4EBE-4E35-AB0F-18C8F08434A9}" srcId="{A6F57C58-CBED-4C4D-BCEF-668313159977}" destId="{5743C58B-6205-44D2-AAA8-9B43EE891E38}" srcOrd="1" destOrd="0" parTransId="{6791572D-A565-4D7A-981C-249C1AF667F5}" sibTransId="{F7597E04-B920-4E5D-B532-62D98D09658F}"/>
    <dgm:cxn modelId="{AD4477AD-9613-4864-91A0-248DDDDC5551}" srcId="{A6F57C58-CBED-4C4D-BCEF-668313159977}" destId="{03DF8B2E-88D4-49B1-9EF4-1C2811CE04EC}" srcOrd="2" destOrd="0" parTransId="{D1655290-1228-4A75-B529-2CC4A394587D}" sibTransId="{624E176A-9155-45F6-90E0-E93B7DAE5692}"/>
    <dgm:cxn modelId="{076E99B7-C31E-4A5C-9804-1D80CF77B0DB}" type="presOf" srcId="{03DF8B2E-88D4-49B1-9EF4-1C2811CE04EC}" destId="{37C83756-9BCB-484D-B727-0B1FDD0615B0}" srcOrd="0" destOrd="0" presId="urn:microsoft.com/office/officeart/2008/layout/LinedList"/>
    <dgm:cxn modelId="{99EA7D62-81AD-4FCD-BAE6-FA55FB947946}" type="presParOf" srcId="{D2651E8A-D557-4D01-8F99-AD3DA74E14FE}" destId="{D67DCC7C-FE57-43BD-AA55-A29BFB1B52C8}" srcOrd="0" destOrd="0" presId="urn:microsoft.com/office/officeart/2008/layout/LinedList"/>
    <dgm:cxn modelId="{D543E3D0-B4C6-44A3-9B1E-9F2EDDE3512E}" type="presParOf" srcId="{D2651E8A-D557-4D01-8F99-AD3DA74E14FE}" destId="{4723C993-F029-4979-AB06-DA6E6A93D082}" srcOrd="1" destOrd="0" presId="urn:microsoft.com/office/officeart/2008/layout/LinedList"/>
    <dgm:cxn modelId="{86722D45-CF70-4BEA-B57F-27D06F913619}" type="presParOf" srcId="{4723C993-F029-4979-AB06-DA6E6A93D082}" destId="{3A3A0744-34A8-4631-A10B-D0CF3F0769F0}" srcOrd="0" destOrd="0" presId="urn:microsoft.com/office/officeart/2008/layout/LinedList"/>
    <dgm:cxn modelId="{5D228A45-BDF3-4852-AFA4-E907254FD6A0}" type="presParOf" srcId="{4723C993-F029-4979-AB06-DA6E6A93D082}" destId="{A97EA197-FC13-40E0-BC1C-1B3C5EB23C0E}" srcOrd="1" destOrd="0" presId="urn:microsoft.com/office/officeart/2008/layout/LinedList"/>
    <dgm:cxn modelId="{E7258A0E-257D-4127-B623-A2ACBDBCFC1B}" type="presParOf" srcId="{D2651E8A-D557-4D01-8F99-AD3DA74E14FE}" destId="{0138D324-E342-4B02-8B0C-25E94F7E7099}" srcOrd="2" destOrd="0" presId="urn:microsoft.com/office/officeart/2008/layout/LinedList"/>
    <dgm:cxn modelId="{C8934F1F-C289-4868-977C-775B5ED79140}" type="presParOf" srcId="{D2651E8A-D557-4D01-8F99-AD3DA74E14FE}" destId="{3D295A99-14C1-4325-991E-E76FEEB5056A}" srcOrd="3" destOrd="0" presId="urn:microsoft.com/office/officeart/2008/layout/LinedList"/>
    <dgm:cxn modelId="{16104255-ECC4-40E3-990F-7946912AB619}" type="presParOf" srcId="{3D295A99-14C1-4325-991E-E76FEEB5056A}" destId="{A44B4B15-76C6-4926-815D-3C4B585B5236}" srcOrd="0" destOrd="0" presId="urn:microsoft.com/office/officeart/2008/layout/LinedList"/>
    <dgm:cxn modelId="{F3DEBDC6-C980-4FEA-8182-AB07BC935F8D}" type="presParOf" srcId="{3D295A99-14C1-4325-991E-E76FEEB5056A}" destId="{ED3FC321-727B-4689-A2D7-957BA1DEDDB5}" srcOrd="1" destOrd="0" presId="urn:microsoft.com/office/officeart/2008/layout/LinedList"/>
    <dgm:cxn modelId="{FB836218-94CA-4367-8AD3-D6492808DFBB}" type="presParOf" srcId="{D2651E8A-D557-4D01-8F99-AD3DA74E14FE}" destId="{0A1EDD42-2E12-4BAE-B197-E318CF4AA482}" srcOrd="4" destOrd="0" presId="urn:microsoft.com/office/officeart/2008/layout/LinedList"/>
    <dgm:cxn modelId="{A1E20FB2-F170-4E16-A8DC-6C8A6A95C2A2}" type="presParOf" srcId="{D2651E8A-D557-4D01-8F99-AD3DA74E14FE}" destId="{BBD3DADC-E1F5-49AB-A306-EBD924053560}" srcOrd="5" destOrd="0" presId="urn:microsoft.com/office/officeart/2008/layout/LinedList"/>
    <dgm:cxn modelId="{6D2C1B91-73DB-4D88-8828-AD19F57FA0C5}" type="presParOf" srcId="{BBD3DADC-E1F5-49AB-A306-EBD924053560}" destId="{37C83756-9BCB-484D-B727-0B1FDD0615B0}" srcOrd="0" destOrd="0" presId="urn:microsoft.com/office/officeart/2008/layout/LinedList"/>
    <dgm:cxn modelId="{353E590D-0713-43A9-AAA0-32014B53E687}" type="presParOf" srcId="{BBD3DADC-E1F5-49AB-A306-EBD924053560}" destId="{12ECB98C-6101-48E2-A719-B985A72837D7}" srcOrd="1" destOrd="0" presId="urn:microsoft.com/office/officeart/2008/layout/LinedList"/>
    <dgm:cxn modelId="{70A7F429-3ACA-403D-BDCB-BDFE93220F32}" type="presParOf" srcId="{D2651E8A-D557-4D01-8F99-AD3DA74E14FE}" destId="{A1E99317-3AEF-4E1A-8FC9-71DB1796076C}" srcOrd="6" destOrd="0" presId="urn:microsoft.com/office/officeart/2008/layout/LinedList"/>
    <dgm:cxn modelId="{E3103AC9-8CFB-4428-A76A-020ABDB10426}" type="presParOf" srcId="{D2651E8A-D557-4D01-8F99-AD3DA74E14FE}" destId="{DEC0EED2-0356-4B53-BD14-BF4C6D8A1618}" srcOrd="7" destOrd="0" presId="urn:microsoft.com/office/officeart/2008/layout/LinedList"/>
    <dgm:cxn modelId="{6E664DD7-3417-4608-B73D-F9EC6ABA1AFB}" type="presParOf" srcId="{DEC0EED2-0356-4B53-BD14-BF4C6D8A1618}" destId="{08EA0E25-3120-45A7-88B2-FCEF515333D4}" srcOrd="0" destOrd="0" presId="urn:microsoft.com/office/officeart/2008/layout/LinedList"/>
    <dgm:cxn modelId="{2B325AE0-EE46-419B-ABDD-056E9326A800}" type="presParOf" srcId="{DEC0EED2-0356-4B53-BD14-BF4C6D8A1618}" destId="{E6A5B4B2-7E83-47DD-99C3-9149FE80BAC5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0C46BA2-8B93-4AC2-9C61-0C97940BECF0}" type="doc">
      <dgm:prSet loTypeId="urn:microsoft.com/office/officeart/2008/layout/LinedList" loCatId="list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05850ACC-6085-4F7B-993A-A6C1A2225AFA}">
      <dgm:prSet/>
      <dgm:spPr/>
      <dgm:t>
        <a:bodyPr/>
        <a:lstStyle/>
        <a:p>
          <a:r>
            <a:rPr lang="gsw-FR" b="1" noProof="0" dirty="0"/>
            <a:t>Gestion des finances publiques pour la couverture santé universelle (CSU) : pourquoi et comment elle est importante, Note de politique</a:t>
          </a:r>
          <a:r>
            <a:rPr lang="gsw-FR" noProof="0" dirty="0"/>
            <a:t>. UHC2030 Partnership. Geneva: https://www.uhc2030.org/blog-news-events/uhc2030-news/public-financial-management-for-universal-health-coverage-why-and-how-it-matters-555436/</a:t>
          </a:r>
        </a:p>
      </dgm:t>
    </dgm:pt>
    <dgm:pt modelId="{B227C52D-A07B-4F77-A44E-6407942CD41E}" type="parTrans" cxnId="{826B166C-23C1-4A49-8A51-0D5F49602846}">
      <dgm:prSet/>
      <dgm:spPr/>
      <dgm:t>
        <a:bodyPr/>
        <a:lstStyle/>
        <a:p>
          <a:endParaRPr lang="gsw-FR" noProof="0" dirty="0"/>
        </a:p>
      </dgm:t>
    </dgm:pt>
    <dgm:pt modelId="{E24A3293-2ADD-4F12-B64A-CE8CC76FA300}" type="sibTrans" cxnId="{826B166C-23C1-4A49-8A51-0D5F49602846}">
      <dgm:prSet/>
      <dgm:spPr/>
      <dgm:t>
        <a:bodyPr/>
        <a:lstStyle/>
        <a:p>
          <a:endParaRPr lang="gsw-FR" noProof="0" dirty="0"/>
        </a:p>
      </dgm:t>
    </dgm:pt>
    <dgm:pt modelId="{C35D5C37-D91B-4AB5-BC6A-2DAB82FA47FB}">
      <dgm:prSet/>
      <dgm:spPr/>
      <dgm:t>
        <a:bodyPr/>
        <a:lstStyle/>
        <a:p>
          <a:r>
            <a:rPr lang="gsw-FR" b="1" noProof="0" dirty="0"/>
            <a:t>Pas de calme après la tempête : il est temps de réorganiser les systèmes nationaux de gestion des finances publiques (GFP) dans le secteur de la santé</a:t>
          </a:r>
          <a:r>
            <a:rPr lang="gsw-FR" noProof="0" dirty="0"/>
            <a:t>, article de blog du FMI : </a:t>
          </a:r>
          <a:r>
            <a:rPr lang="fr-FR" noProof="0" dirty="0"/>
            <a:t>https://p4h.world/fr/oms-bm-pas-de-calme-apres-la-tempete-il-est-temps-de-reorganiser-systemes-nationaux-de-gfp-dans-secteur-sante</a:t>
          </a:r>
          <a:endParaRPr lang="gsw-FR" noProof="0" dirty="0"/>
        </a:p>
      </dgm:t>
    </dgm:pt>
    <dgm:pt modelId="{EB3CEDAD-AD1C-4C2C-8F0E-B7BABB8AF04F}" type="parTrans" cxnId="{F1BD2E76-B201-4344-A292-8B06F741EB08}">
      <dgm:prSet/>
      <dgm:spPr/>
      <dgm:t>
        <a:bodyPr/>
        <a:lstStyle/>
        <a:p>
          <a:endParaRPr lang="gsw-FR" noProof="0" dirty="0"/>
        </a:p>
      </dgm:t>
    </dgm:pt>
    <dgm:pt modelId="{20ED4B1C-52F2-46BC-BBF0-BE61D50A49B0}" type="sibTrans" cxnId="{F1BD2E76-B201-4344-A292-8B06F741EB08}">
      <dgm:prSet/>
      <dgm:spPr/>
      <dgm:t>
        <a:bodyPr/>
        <a:lstStyle/>
        <a:p>
          <a:endParaRPr lang="gsw-FR" noProof="0" dirty="0"/>
        </a:p>
      </dgm:t>
    </dgm:pt>
    <dgm:pt modelId="{FD60A156-E452-4F0B-8F0D-6E2E1B7EE526}">
      <dgm:prSet/>
      <dgm:spPr/>
      <dgm:t>
        <a:bodyPr/>
        <a:lstStyle/>
        <a:p>
          <a:r>
            <a:rPr lang="gsw-FR" b="1" noProof="0" dirty="0"/>
            <a:t>Si vous n’êtes pas prêts, il faut vous adapter : leçons tirées de la riposte au COVID-19 pour la gestion des finances publiques </a:t>
          </a:r>
          <a:r>
            <a:rPr lang="gsw-FR" noProof="0" dirty="0"/>
            <a:t>-19, article de blog P4H : https://p4h.world/index.php/en/blog-lessons-for-managing-public-finances-from-COVID-19-response</a:t>
          </a:r>
        </a:p>
      </dgm:t>
    </dgm:pt>
    <dgm:pt modelId="{630B6373-FD1F-407B-BD85-3EA3B07116D6}" type="parTrans" cxnId="{22EDDEFC-F22B-4AC3-8E7C-C4967DA8E4F3}">
      <dgm:prSet/>
      <dgm:spPr/>
      <dgm:t>
        <a:bodyPr/>
        <a:lstStyle/>
        <a:p>
          <a:endParaRPr lang="gsw-FR" noProof="0" dirty="0"/>
        </a:p>
      </dgm:t>
    </dgm:pt>
    <dgm:pt modelId="{1B1D5F86-3C11-432B-8968-7BEBF08F7515}" type="sibTrans" cxnId="{22EDDEFC-F22B-4AC3-8E7C-C4967DA8E4F3}">
      <dgm:prSet/>
      <dgm:spPr/>
      <dgm:t>
        <a:bodyPr/>
        <a:lstStyle/>
        <a:p>
          <a:endParaRPr lang="gsw-FR" noProof="0" dirty="0"/>
        </a:p>
      </dgm:t>
    </dgm:pt>
    <dgm:pt modelId="{A6B546AE-235F-4AA1-92F1-45830D3E2D5B}">
      <dgm:prSet/>
      <dgm:spPr/>
      <dgm:t>
        <a:bodyPr/>
        <a:lstStyle/>
        <a:p>
          <a:r>
            <a:rPr lang="fr-FR" b="1" noProof="0" dirty="0"/>
            <a:t>Les fonds COVID-19 en réponse à la pandémie</a:t>
          </a:r>
          <a:r>
            <a:rPr lang="gsw-FR" b="1" noProof="0" dirty="0"/>
            <a:t>. </a:t>
          </a:r>
          <a:r>
            <a:rPr lang="gsw-FR" noProof="0" dirty="0"/>
            <a:t>Note de politique du FMI : </a:t>
          </a:r>
          <a:r>
            <a:rPr lang="fr-FR" noProof="0" dirty="0"/>
            <a:t>https://blog-pfm.imf.org/pfmblog/2020/08/-les-fonds-covid-19-en-r%C3%A9ponse-%C3%A0-la-pand%C3%A9mie-.html</a:t>
          </a:r>
          <a:endParaRPr lang="gsw-FR" noProof="0" dirty="0"/>
        </a:p>
      </dgm:t>
    </dgm:pt>
    <dgm:pt modelId="{360A61FE-DF2A-409A-AE08-8BEBB2D4B712}" type="parTrans" cxnId="{95E6FA6A-84B1-4B6C-AEC7-A576785662CD}">
      <dgm:prSet/>
      <dgm:spPr/>
      <dgm:t>
        <a:bodyPr/>
        <a:lstStyle/>
        <a:p>
          <a:endParaRPr lang="gsw-FR" noProof="0" dirty="0"/>
        </a:p>
      </dgm:t>
    </dgm:pt>
    <dgm:pt modelId="{7B5195B7-32A1-4189-93FE-942AD39C1711}" type="sibTrans" cxnId="{95E6FA6A-84B1-4B6C-AEC7-A576785662CD}">
      <dgm:prSet/>
      <dgm:spPr/>
      <dgm:t>
        <a:bodyPr/>
        <a:lstStyle/>
        <a:p>
          <a:endParaRPr lang="gsw-FR" noProof="0" dirty="0"/>
        </a:p>
      </dgm:t>
    </dgm:pt>
    <dgm:pt modelId="{9F5DC284-65CB-473C-8A87-18DC087CE490}">
      <dgm:prSet/>
      <dgm:spPr/>
      <dgm:t>
        <a:bodyPr/>
        <a:lstStyle/>
        <a:p>
          <a:r>
            <a:rPr lang="gsw-FR" b="1" noProof="0" dirty="0"/>
            <a:t>Comment budgétiser pour la réponse au COVID-19 ? </a:t>
          </a:r>
          <a:r>
            <a:rPr lang="gsw-FR" b="0" noProof="0" dirty="0"/>
            <a:t>Note de politique de l’OMS</a:t>
          </a:r>
          <a:r>
            <a:rPr lang="gsw-FR" noProof="0" dirty="0"/>
            <a:t>, 2020: https://www.who.int/publications/m/item/how-to-budget-for-covid-19-response</a:t>
          </a:r>
        </a:p>
      </dgm:t>
    </dgm:pt>
    <dgm:pt modelId="{BE1AC3AD-B0E7-4298-A202-C9EF2D786DB4}" type="parTrans" cxnId="{4D99D076-D30B-4E35-998F-2E04CCBCFD5D}">
      <dgm:prSet/>
      <dgm:spPr/>
      <dgm:t>
        <a:bodyPr/>
        <a:lstStyle/>
        <a:p>
          <a:endParaRPr lang="gsw-FR" noProof="0" dirty="0"/>
        </a:p>
      </dgm:t>
    </dgm:pt>
    <dgm:pt modelId="{AD0322FB-7DB2-4E6D-826E-18989B93FE92}" type="sibTrans" cxnId="{4D99D076-D30B-4E35-998F-2E04CCBCFD5D}">
      <dgm:prSet/>
      <dgm:spPr/>
      <dgm:t>
        <a:bodyPr/>
        <a:lstStyle/>
        <a:p>
          <a:endParaRPr lang="gsw-FR" noProof="0" dirty="0"/>
        </a:p>
      </dgm:t>
    </dgm:pt>
    <dgm:pt modelId="{CAA03B7A-FD51-4403-94FB-C8065C941ECD}" type="pres">
      <dgm:prSet presAssocID="{D0C46BA2-8B93-4AC2-9C61-0C97940BECF0}" presName="vert0" presStyleCnt="0">
        <dgm:presLayoutVars>
          <dgm:dir/>
          <dgm:animOne val="branch"/>
          <dgm:animLvl val="lvl"/>
        </dgm:presLayoutVars>
      </dgm:prSet>
      <dgm:spPr/>
    </dgm:pt>
    <dgm:pt modelId="{390C88D5-6FB7-49D2-9947-775D8D4D7113}" type="pres">
      <dgm:prSet presAssocID="{05850ACC-6085-4F7B-993A-A6C1A2225AFA}" presName="thickLine" presStyleLbl="alignNode1" presStyleIdx="0" presStyleCnt="5"/>
      <dgm:spPr/>
    </dgm:pt>
    <dgm:pt modelId="{FFAE9B9E-D748-471E-8947-BD0B1D783C3B}" type="pres">
      <dgm:prSet presAssocID="{05850ACC-6085-4F7B-993A-A6C1A2225AFA}" presName="horz1" presStyleCnt="0"/>
      <dgm:spPr/>
    </dgm:pt>
    <dgm:pt modelId="{B11E43A1-A641-4580-AF84-4B21ED12EA81}" type="pres">
      <dgm:prSet presAssocID="{05850ACC-6085-4F7B-993A-A6C1A2225AFA}" presName="tx1" presStyleLbl="revTx" presStyleIdx="0" presStyleCnt="5"/>
      <dgm:spPr/>
    </dgm:pt>
    <dgm:pt modelId="{E975B27E-B8DF-4A0E-907A-663F2DE40FF2}" type="pres">
      <dgm:prSet presAssocID="{05850ACC-6085-4F7B-993A-A6C1A2225AFA}" presName="vert1" presStyleCnt="0"/>
      <dgm:spPr/>
    </dgm:pt>
    <dgm:pt modelId="{3969D338-D71C-4612-A6CB-B17FB541B3BE}" type="pres">
      <dgm:prSet presAssocID="{9F5DC284-65CB-473C-8A87-18DC087CE490}" presName="thickLine" presStyleLbl="alignNode1" presStyleIdx="1" presStyleCnt="5"/>
      <dgm:spPr/>
    </dgm:pt>
    <dgm:pt modelId="{F565E097-9E13-4D5D-A6CF-CFDD7BE4B590}" type="pres">
      <dgm:prSet presAssocID="{9F5DC284-65CB-473C-8A87-18DC087CE490}" presName="horz1" presStyleCnt="0"/>
      <dgm:spPr/>
    </dgm:pt>
    <dgm:pt modelId="{6112EAAE-1B7D-49C5-8F6E-604CDDCAA419}" type="pres">
      <dgm:prSet presAssocID="{9F5DC284-65CB-473C-8A87-18DC087CE490}" presName="tx1" presStyleLbl="revTx" presStyleIdx="1" presStyleCnt="5"/>
      <dgm:spPr/>
    </dgm:pt>
    <dgm:pt modelId="{3799F202-79AE-4C03-870C-846BD15BC15D}" type="pres">
      <dgm:prSet presAssocID="{9F5DC284-65CB-473C-8A87-18DC087CE490}" presName="vert1" presStyleCnt="0"/>
      <dgm:spPr/>
    </dgm:pt>
    <dgm:pt modelId="{460E8689-C654-45E5-9520-8BA1E323E47D}" type="pres">
      <dgm:prSet presAssocID="{C35D5C37-D91B-4AB5-BC6A-2DAB82FA47FB}" presName="thickLine" presStyleLbl="alignNode1" presStyleIdx="2" presStyleCnt="5"/>
      <dgm:spPr/>
    </dgm:pt>
    <dgm:pt modelId="{57F1CE62-97CF-4837-86ED-80B3926C4EFF}" type="pres">
      <dgm:prSet presAssocID="{C35D5C37-D91B-4AB5-BC6A-2DAB82FA47FB}" presName="horz1" presStyleCnt="0"/>
      <dgm:spPr/>
    </dgm:pt>
    <dgm:pt modelId="{C8CCB110-607E-48B2-B4F4-956BEFC0F389}" type="pres">
      <dgm:prSet presAssocID="{C35D5C37-D91B-4AB5-BC6A-2DAB82FA47FB}" presName="tx1" presStyleLbl="revTx" presStyleIdx="2" presStyleCnt="5"/>
      <dgm:spPr/>
    </dgm:pt>
    <dgm:pt modelId="{DA029F24-29C2-42CE-BFD8-4EEA12AD44E8}" type="pres">
      <dgm:prSet presAssocID="{C35D5C37-D91B-4AB5-BC6A-2DAB82FA47FB}" presName="vert1" presStyleCnt="0"/>
      <dgm:spPr/>
    </dgm:pt>
    <dgm:pt modelId="{CD166DCB-37C6-4B22-806B-2A121C624497}" type="pres">
      <dgm:prSet presAssocID="{FD60A156-E452-4F0B-8F0D-6E2E1B7EE526}" presName="thickLine" presStyleLbl="alignNode1" presStyleIdx="3" presStyleCnt="5"/>
      <dgm:spPr/>
    </dgm:pt>
    <dgm:pt modelId="{454DA273-ED14-4FEA-BF07-B227A19715BF}" type="pres">
      <dgm:prSet presAssocID="{FD60A156-E452-4F0B-8F0D-6E2E1B7EE526}" presName="horz1" presStyleCnt="0"/>
      <dgm:spPr/>
    </dgm:pt>
    <dgm:pt modelId="{72C279E3-A0E5-463F-A266-01AC83F7D5F5}" type="pres">
      <dgm:prSet presAssocID="{FD60A156-E452-4F0B-8F0D-6E2E1B7EE526}" presName="tx1" presStyleLbl="revTx" presStyleIdx="3" presStyleCnt="5"/>
      <dgm:spPr/>
    </dgm:pt>
    <dgm:pt modelId="{C3B90462-A926-4468-A148-1BC9D38C17CE}" type="pres">
      <dgm:prSet presAssocID="{FD60A156-E452-4F0B-8F0D-6E2E1B7EE526}" presName="vert1" presStyleCnt="0"/>
      <dgm:spPr/>
    </dgm:pt>
    <dgm:pt modelId="{F5F23148-C75C-4592-8E3A-9D75C36F78A8}" type="pres">
      <dgm:prSet presAssocID="{A6B546AE-235F-4AA1-92F1-45830D3E2D5B}" presName="thickLine" presStyleLbl="alignNode1" presStyleIdx="4" presStyleCnt="5"/>
      <dgm:spPr/>
    </dgm:pt>
    <dgm:pt modelId="{9B406961-C561-4421-997B-6872050B1B3B}" type="pres">
      <dgm:prSet presAssocID="{A6B546AE-235F-4AA1-92F1-45830D3E2D5B}" presName="horz1" presStyleCnt="0"/>
      <dgm:spPr/>
    </dgm:pt>
    <dgm:pt modelId="{182F2DAA-0178-4FA0-9602-9DA1330A0CD6}" type="pres">
      <dgm:prSet presAssocID="{A6B546AE-235F-4AA1-92F1-45830D3E2D5B}" presName="tx1" presStyleLbl="revTx" presStyleIdx="4" presStyleCnt="5"/>
      <dgm:spPr/>
    </dgm:pt>
    <dgm:pt modelId="{918E2B9B-13B1-4DA8-8EF7-B16CE7AED2B7}" type="pres">
      <dgm:prSet presAssocID="{A6B546AE-235F-4AA1-92F1-45830D3E2D5B}" presName="vert1" presStyleCnt="0"/>
      <dgm:spPr/>
    </dgm:pt>
  </dgm:ptLst>
  <dgm:cxnLst>
    <dgm:cxn modelId="{036FF033-89A6-417F-85EB-29DA4D379B70}" type="presOf" srcId="{9F5DC284-65CB-473C-8A87-18DC087CE490}" destId="{6112EAAE-1B7D-49C5-8F6E-604CDDCAA419}" srcOrd="0" destOrd="0" presId="urn:microsoft.com/office/officeart/2008/layout/LinedList"/>
    <dgm:cxn modelId="{BED1B93F-1D12-4427-90E1-A14B1A8D5050}" type="presOf" srcId="{05850ACC-6085-4F7B-993A-A6C1A2225AFA}" destId="{B11E43A1-A641-4580-AF84-4B21ED12EA81}" srcOrd="0" destOrd="0" presId="urn:microsoft.com/office/officeart/2008/layout/LinedList"/>
    <dgm:cxn modelId="{9C5BCF6A-2A2D-41E0-9DC0-F9991F30946E}" type="presOf" srcId="{A6B546AE-235F-4AA1-92F1-45830D3E2D5B}" destId="{182F2DAA-0178-4FA0-9602-9DA1330A0CD6}" srcOrd="0" destOrd="0" presId="urn:microsoft.com/office/officeart/2008/layout/LinedList"/>
    <dgm:cxn modelId="{95E6FA6A-84B1-4B6C-AEC7-A576785662CD}" srcId="{D0C46BA2-8B93-4AC2-9C61-0C97940BECF0}" destId="{A6B546AE-235F-4AA1-92F1-45830D3E2D5B}" srcOrd="4" destOrd="0" parTransId="{360A61FE-DF2A-409A-AE08-8BEBB2D4B712}" sibTransId="{7B5195B7-32A1-4189-93FE-942AD39C1711}"/>
    <dgm:cxn modelId="{CA46DB6B-ACC3-4226-9768-1BEAC7BF9A44}" type="presOf" srcId="{C35D5C37-D91B-4AB5-BC6A-2DAB82FA47FB}" destId="{C8CCB110-607E-48B2-B4F4-956BEFC0F389}" srcOrd="0" destOrd="0" presId="urn:microsoft.com/office/officeart/2008/layout/LinedList"/>
    <dgm:cxn modelId="{826B166C-23C1-4A49-8A51-0D5F49602846}" srcId="{D0C46BA2-8B93-4AC2-9C61-0C97940BECF0}" destId="{05850ACC-6085-4F7B-993A-A6C1A2225AFA}" srcOrd="0" destOrd="0" parTransId="{B227C52D-A07B-4F77-A44E-6407942CD41E}" sibTransId="{E24A3293-2ADD-4F12-B64A-CE8CC76FA300}"/>
    <dgm:cxn modelId="{F1BD2E76-B201-4344-A292-8B06F741EB08}" srcId="{D0C46BA2-8B93-4AC2-9C61-0C97940BECF0}" destId="{C35D5C37-D91B-4AB5-BC6A-2DAB82FA47FB}" srcOrd="2" destOrd="0" parTransId="{EB3CEDAD-AD1C-4C2C-8F0E-B7BABB8AF04F}" sibTransId="{20ED4B1C-52F2-46BC-BBF0-BE61D50A49B0}"/>
    <dgm:cxn modelId="{4D99D076-D30B-4E35-998F-2E04CCBCFD5D}" srcId="{D0C46BA2-8B93-4AC2-9C61-0C97940BECF0}" destId="{9F5DC284-65CB-473C-8A87-18DC087CE490}" srcOrd="1" destOrd="0" parTransId="{BE1AC3AD-B0E7-4298-A202-C9EF2D786DB4}" sibTransId="{AD0322FB-7DB2-4E6D-826E-18989B93FE92}"/>
    <dgm:cxn modelId="{A9123C93-996E-49CA-A701-3E77F0290D14}" type="presOf" srcId="{D0C46BA2-8B93-4AC2-9C61-0C97940BECF0}" destId="{CAA03B7A-FD51-4403-94FB-C8065C941ECD}" srcOrd="0" destOrd="0" presId="urn:microsoft.com/office/officeart/2008/layout/LinedList"/>
    <dgm:cxn modelId="{8E1017C3-6871-4342-8761-D69DBEDF2713}" type="presOf" srcId="{FD60A156-E452-4F0B-8F0D-6E2E1B7EE526}" destId="{72C279E3-A0E5-463F-A266-01AC83F7D5F5}" srcOrd="0" destOrd="0" presId="urn:microsoft.com/office/officeart/2008/layout/LinedList"/>
    <dgm:cxn modelId="{22EDDEFC-F22B-4AC3-8E7C-C4967DA8E4F3}" srcId="{D0C46BA2-8B93-4AC2-9C61-0C97940BECF0}" destId="{FD60A156-E452-4F0B-8F0D-6E2E1B7EE526}" srcOrd="3" destOrd="0" parTransId="{630B6373-FD1F-407B-BD85-3EA3B07116D6}" sibTransId="{1B1D5F86-3C11-432B-8968-7BEBF08F7515}"/>
    <dgm:cxn modelId="{ABC75527-9915-4DDA-9075-EF178738BD68}" type="presParOf" srcId="{CAA03B7A-FD51-4403-94FB-C8065C941ECD}" destId="{390C88D5-6FB7-49D2-9947-775D8D4D7113}" srcOrd="0" destOrd="0" presId="urn:microsoft.com/office/officeart/2008/layout/LinedList"/>
    <dgm:cxn modelId="{B6A79CDC-FBF8-47BE-BE7A-E9FD655B7DE4}" type="presParOf" srcId="{CAA03B7A-FD51-4403-94FB-C8065C941ECD}" destId="{FFAE9B9E-D748-471E-8947-BD0B1D783C3B}" srcOrd="1" destOrd="0" presId="urn:microsoft.com/office/officeart/2008/layout/LinedList"/>
    <dgm:cxn modelId="{91761F4A-0DEA-4322-B4BF-D74D0AF8B90F}" type="presParOf" srcId="{FFAE9B9E-D748-471E-8947-BD0B1D783C3B}" destId="{B11E43A1-A641-4580-AF84-4B21ED12EA81}" srcOrd="0" destOrd="0" presId="urn:microsoft.com/office/officeart/2008/layout/LinedList"/>
    <dgm:cxn modelId="{BC71B6FA-AE4C-4835-8514-4A972F53DE99}" type="presParOf" srcId="{FFAE9B9E-D748-471E-8947-BD0B1D783C3B}" destId="{E975B27E-B8DF-4A0E-907A-663F2DE40FF2}" srcOrd="1" destOrd="0" presId="urn:microsoft.com/office/officeart/2008/layout/LinedList"/>
    <dgm:cxn modelId="{6262F8F5-9B4A-4B40-B740-6F94B6D69AED}" type="presParOf" srcId="{CAA03B7A-FD51-4403-94FB-C8065C941ECD}" destId="{3969D338-D71C-4612-A6CB-B17FB541B3BE}" srcOrd="2" destOrd="0" presId="urn:microsoft.com/office/officeart/2008/layout/LinedList"/>
    <dgm:cxn modelId="{62DDE6FC-3030-493A-9C77-41BBC0C90EC0}" type="presParOf" srcId="{CAA03B7A-FD51-4403-94FB-C8065C941ECD}" destId="{F565E097-9E13-4D5D-A6CF-CFDD7BE4B590}" srcOrd="3" destOrd="0" presId="urn:microsoft.com/office/officeart/2008/layout/LinedList"/>
    <dgm:cxn modelId="{FD4F7D01-DC94-428B-8642-1005F970935B}" type="presParOf" srcId="{F565E097-9E13-4D5D-A6CF-CFDD7BE4B590}" destId="{6112EAAE-1B7D-49C5-8F6E-604CDDCAA419}" srcOrd="0" destOrd="0" presId="urn:microsoft.com/office/officeart/2008/layout/LinedList"/>
    <dgm:cxn modelId="{B73DEF9B-23C0-4953-9B38-1D4EB855D534}" type="presParOf" srcId="{F565E097-9E13-4D5D-A6CF-CFDD7BE4B590}" destId="{3799F202-79AE-4C03-870C-846BD15BC15D}" srcOrd="1" destOrd="0" presId="urn:microsoft.com/office/officeart/2008/layout/LinedList"/>
    <dgm:cxn modelId="{ED32C1FF-D05B-416B-A95F-022116915600}" type="presParOf" srcId="{CAA03B7A-FD51-4403-94FB-C8065C941ECD}" destId="{460E8689-C654-45E5-9520-8BA1E323E47D}" srcOrd="4" destOrd="0" presId="urn:microsoft.com/office/officeart/2008/layout/LinedList"/>
    <dgm:cxn modelId="{FE857AA9-255D-4DE6-B209-44B690AEC30C}" type="presParOf" srcId="{CAA03B7A-FD51-4403-94FB-C8065C941ECD}" destId="{57F1CE62-97CF-4837-86ED-80B3926C4EFF}" srcOrd="5" destOrd="0" presId="urn:microsoft.com/office/officeart/2008/layout/LinedList"/>
    <dgm:cxn modelId="{DB21F484-6A12-4B50-A39D-2AB2241E3B3C}" type="presParOf" srcId="{57F1CE62-97CF-4837-86ED-80B3926C4EFF}" destId="{C8CCB110-607E-48B2-B4F4-956BEFC0F389}" srcOrd="0" destOrd="0" presId="urn:microsoft.com/office/officeart/2008/layout/LinedList"/>
    <dgm:cxn modelId="{F193E2EC-AEBC-4F6C-B49C-4121EFE88518}" type="presParOf" srcId="{57F1CE62-97CF-4837-86ED-80B3926C4EFF}" destId="{DA029F24-29C2-42CE-BFD8-4EEA12AD44E8}" srcOrd="1" destOrd="0" presId="urn:microsoft.com/office/officeart/2008/layout/LinedList"/>
    <dgm:cxn modelId="{08BCC448-8369-4961-BD2E-534F2DC2AE21}" type="presParOf" srcId="{CAA03B7A-FD51-4403-94FB-C8065C941ECD}" destId="{CD166DCB-37C6-4B22-806B-2A121C624497}" srcOrd="6" destOrd="0" presId="urn:microsoft.com/office/officeart/2008/layout/LinedList"/>
    <dgm:cxn modelId="{5E538BCF-527B-418C-9E32-4BB2FC6F2797}" type="presParOf" srcId="{CAA03B7A-FD51-4403-94FB-C8065C941ECD}" destId="{454DA273-ED14-4FEA-BF07-B227A19715BF}" srcOrd="7" destOrd="0" presId="urn:microsoft.com/office/officeart/2008/layout/LinedList"/>
    <dgm:cxn modelId="{783D7E8A-8385-47D6-893F-5A84C64C7BD0}" type="presParOf" srcId="{454DA273-ED14-4FEA-BF07-B227A19715BF}" destId="{72C279E3-A0E5-463F-A266-01AC83F7D5F5}" srcOrd="0" destOrd="0" presId="urn:microsoft.com/office/officeart/2008/layout/LinedList"/>
    <dgm:cxn modelId="{61E6EC63-5142-454D-B53C-E8E657FD0CA9}" type="presParOf" srcId="{454DA273-ED14-4FEA-BF07-B227A19715BF}" destId="{C3B90462-A926-4468-A148-1BC9D38C17CE}" srcOrd="1" destOrd="0" presId="urn:microsoft.com/office/officeart/2008/layout/LinedList"/>
    <dgm:cxn modelId="{64CBE5D9-EC77-4CE3-A023-A76F9F248C72}" type="presParOf" srcId="{CAA03B7A-FD51-4403-94FB-C8065C941ECD}" destId="{F5F23148-C75C-4592-8E3A-9D75C36F78A8}" srcOrd="8" destOrd="0" presId="urn:microsoft.com/office/officeart/2008/layout/LinedList"/>
    <dgm:cxn modelId="{797F8B75-AC94-4C84-B03E-02D52105ED82}" type="presParOf" srcId="{CAA03B7A-FD51-4403-94FB-C8065C941ECD}" destId="{9B406961-C561-4421-997B-6872050B1B3B}" srcOrd="9" destOrd="0" presId="urn:microsoft.com/office/officeart/2008/layout/LinedList"/>
    <dgm:cxn modelId="{EACFD2AD-E2E4-488A-8789-8E9B9CAD963A}" type="presParOf" srcId="{9B406961-C561-4421-997B-6872050B1B3B}" destId="{182F2DAA-0178-4FA0-9602-9DA1330A0CD6}" srcOrd="0" destOrd="0" presId="urn:microsoft.com/office/officeart/2008/layout/LinedList"/>
    <dgm:cxn modelId="{F21B5B5F-EBE6-4E8F-80CD-041291973499}" type="presParOf" srcId="{9B406961-C561-4421-997B-6872050B1B3B}" destId="{918E2B9B-13B1-4DA8-8EF7-B16CE7AED2B7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67DCC7C-FE57-43BD-AA55-A29BFB1B52C8}">
      <dsp:nvSpPr>
        <dsp:cNvPr id="0" name=""/>
        <dsp:cNvSpPr/>
      </dsp:nvSpPr>
      <dsp:spPr>
        <a:xfrm>
          <a:off x="0" y="0"/>
          <a:ext cx="1102995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A3A0744-34A8-4631-A10B-D0CF3F0769F0}">
      <dsp:nvSpPr>
        <dsp:cNvPr id="0" name=""/>
        <dsp:cNvSpPr/>
      </dsp:nvSpPr>
      <dsp:spPr>
        <a:xfrm>
          <a:off x="0" y="0"/>
          <a:ext cx="11029950" cy="1143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noProof="0" dirty="0"/>
            <a:t>Enquête électronique Web sur les modalités de GFP pour la réponse sanitaire à la COVID-19
</a:t>
          </a:r>
          <a:endParaRPr lang="en-US" sz="2100" kern="1200" noProof="0" dirty="0"/>
        </a:p>
      </dsp:txBody>
      <dsp:txXfrm>
        <a:off x="0" y="0"/>
        <a:ext cx="11029950" cy="1143000"/>
      </dsp:txXfrm>
    </dsp:sp>
    <dsp:sp modelId="{0138D324-E342-4B02-8B0C-25E94F7E7099}">
      <dsp:nvSpPr>
        <dsp:cNvPr id="0" name=""/>
        <dsp:cNvSpPr/>
      </dsp:nvSpPr>
      <dsp:spPr>
        <a:xfrm>
          <a:off x="0" y="1143000"/>
          <a:ext cx="1102995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44B4B15-76C6-4926-815D-3C4B585B5236}">
      <dsp:nvSpPr>
        <dsp:cNvPr id="0" name=""/>
        <dsp:cNvSpPr/>
      </dsp:nvSpPr>
      <dsp:spPr>
        <a:xfrm>
          <a:off x="0" y="1143000"/>
          <a:ext cx="11029950" cy="1143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noProof="0" dirty="0"/>
            <a:t>Évaluation quantitative des allocations budgétaires pour la réponse sanitaire à la COVID-19
</a:t>
          </a:r>
          <a:endParaRPr lang="en-US" sz="2100" kern="1200" noProof="0" dirty="0"/>
        </a:p>
      </dsp:txBody>
      <dsp:txXfrm>
        <a:off x="0" y="1143000"/>
        <a:ext cx="11029950" cy="1143000"/>
      </dsp:txXfrm>
    </dsp:sp>
    <dsp:sp modelId="{0A1EDD42-2E12-4BAE-B197-E318CF4AA482}">
      <dsp:nvSpPr>
        <dsp:cNvPr id="0" name=""/>
        <dsp:cNvSpPr/>
      </dsp:nvSpPr>
      <dsp:spPr>
        <a:xfrm>
          <a:off x="0" y="2286000"/>
          <a:ext cx="1102995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7C83756-9BCB-484D-B727-0B1FDD0615B0}">
      <dsp:nvSpPr>
        <dsp:cNvPr id="0" name=""/>
        <dsp:cNvSpPr/>
      </dsp:nvSpPr>
      <dsp:spPr>
        <a:xfrm>
          <a:off x="0" y="2286000"/>
          <a:ext cx="11029950" cy="1143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noProof="0" dirty="0"/>
            <a:t>Analyse des fonds extra-budgétaires consacrés à la lutte contre la COVID-19
</a:t>
          </a:r>
          <a:endParaRPr lang="en-US" sz="2100" kern="1200" noProof="0" dirty="0"/>
        </a:p>
      </dsp:txBody>
      <dsp:txXfrm>
        <a:off x="0" y="2286000"/>
        <a:ext cx="11029950" cy="1143000"/>
      </dsp:txXfrm>
    </dsp:sp>
    <dsp:sp modelId="{A1E99317-3AEF-4E1A-8FC9-71DB1796076C}">
      <dsp:nvSpPr>
        <dsp:cNvPr id="0" name=""/>
        <dsp:cNvSpPr/>
      </dsp:nvSpPr>
      <dsp:spPr>
        <a:xfrm>
          <a:off x="0" y="3429000"/>
          <a:ext cx="11029950" cy="0"/>
        </a:xfrm>
        <a:prstGeom prst="lin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2225" cap="rnd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EA0E25-3120-45A7-88B2-FCEF515333D4}">
      <dsp:nvSpPr>
        <dsp:cNvPr id="0" name=""/>
        <dsp:cNvSpPr/>
      </dsp:nvSpPr>
      <dsp:spPr>
        <a:xfrm>
          <a:off x="0" y="3429000"/>
          <a:ext cx="11029950" cy="1143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0010" tIns="80010" rIns="80010" bIns="80010" numCol="1" spcCol="1270" anchor="t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2100" kern="1200" noProof="0" dirty="0"/>
            <a:t>Étude de définition du champ des points de tension en matière de GFP pour le déploiement du vaccin anti-COVID-19
</a:t>
          </a:r>
          <a:endParaRPr lang="en-US" sz="2100" kern="1200" noProof="0" dirty="0"/>
        </a:p>
      </dsp:txBody>
      <dsp:txXfrm>
        <a:off x="0" y="3429000"/>
        <a:ext cx="11029950" cy="1143000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90C88D5-6FB7-49D2-9947-775D8D4D7113}">
      <dsp:nvSpPr>
        <dsp:cNvPr id="0" name=""/>
        <dsp:cNvSpPr/>
      </dsp:nvSpPr>
      <dsp:spPr>
        <a:xfrm>
          <a:off x="0" y="574"/>
          <a:ext cx="7012370" cy="0"/>
        </a:xfrm>
        <a:prstGeom prst="line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tint val="98000"/>
                <a:lumMod val="110000"/>
              </a:schemeClr>
            </a:gs>
            <a:gs pos="84000">
              <a:schemeClr val="accent5">
                <a:hueOff val="0"/>
                <a:satOff val="0"/>
                <a:lumOff val="0"/>
                <a:alphaOff val="0"/>
                <a:shade val="90000"/>
                <a:lumMod val="88000"/>
              </a:schemeClr>
            </a:gs>
          </a:gsLst>
          <a:lin ang="5400000" scaled="0"/>
        </a:gradFill>
        <a:ln w="12700" cap="rnd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5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B11E43A1-A641-4580-AF84-4B21ED12EA81}">
      <dsp:nvSpPr>
        <dsp:cNvPr id="0" name=""/>
        <dsp:cNvSpPr/>
      </dsp:nvSpPr>
      <dsp:spPr>
        <a:xfrm>
          <a:off x="0" y="574"/>
          <a:ext cx="7012370" cy="941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gsw-FR" sz="1500" b="1" kern="1200" noProof="0" dirty="0"/>
            <a:t>Gestion des finances publiques pour la couverture santé universelle (CSU) : pourquoi et comment elle est importante, Note de politique</a:t>
          </a:r>
          <a:r>
            <a:rPr lang="gsw-FR" sz="1500" kern="1200" noProof="0" dirty="0"/>
            <a:t>. UHC2030 Partnership. Geneva: https://www.uhc2030.org/blog-news-events/uhc2030-news/public-financial-management-for-universal-health-coverage-why-and-how-it-matters-555436/</a:t>
          </a:r>
        </a:p>
      </dsp:txBody>
      <dsp:txXfrm>
        <a:off x="0" y="574"/>
        <a:ext cx="7012370" cy="941596"/>
      </dsp:txXfrm>
    </dsp:sp>
    <dsp:sp modelId="{3969D338-D71C-4612-A6CB-B17FB541B3BE}">
      <dsp:nvSpPr>
        <dsp:cNvPr id="0" name=""/>
        <dsp:cNvSpPr/>
      </dsp:nvSpPr>
      <dsp:spPr>
        <a:xfrm>
          <a:off x="0" y="942171"/>
          <a:ext cx="7012370" cy="0"/>
        </a:xfrm>
        <a:prstGeom prst="line">
          <a:avLst/>
        </a:prstGeom>
        <a:gradFill rotWithShape="0">
          <a:gsLst>
            <a:gs pos="0">
              <a:schemeClr val="accent5">
                <a:hueOff val="798252"/>
                <a:satOff val="-766"/>
                <a:lumOff val="-5049"/>
                <a:alphaOff val="0"/>
                <a:tint val="98000"/>
                <a:lumMod val="110000"/>
              </a:schemeClr>
            </a:gs>
            <a:gs pos="84000">
              <a:schemeClr val="accent5">
                <a:hueOff val="798252"/>
                <a:satOff val="-766"/>
                <a:lumOff val="-5049"/>
                <a:alphaOff val="0"/>
                <a:shade val="90000"/>
                <a:lumMod val="88000"/>
              </a:schemeClr>
            </a:gs>
          </a:gsLst>
          <a:lin ang="5400000" scaled="0"/>
        </a:gradFill>
        <a:ln w="12700" cap="rnd" cmpd="sng" algn="ctr">
          <a:solidFill>
            <a:schemeClr val="accent5">
              <a:hueOff val="798252"/>
              <a:satOff val="-766"/>
              <a:lumOff val="-5049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5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6112EAAE-1B7D-49C5-8F6E-604CDDCAA419}">
      <dsp:nvSpPr>
        <dsp:cNvPr id="0" name=""/>
        <dsp:cNvSpPr/>
      </dsp:nvSpPr>
      <dsp:spPr>
        <a:xfrm>
          <a:off x="0" y="942171"/>
          <a:ext cx="7012370" cy="941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gsw-FR" sz="1500" b="1" kern="1200" noProof="0" dirty="0"/>
            <a:t>Comment budgétiser pour la réponse au COVID-19 ? </a:t>
          </a:r>
          <a:r>
            <a:rPr lang="gsw-FR" sz="1500" b="0" kern="1200" noProof="0" dirty="0"/>
            <a:t>Note de politique de l’OMS</a:t>
          </a:r>
          <a:r>
            <a:rPr lang="gsw-FR" sz="1500" kern="1200" noProof="0" dirty="0"/>
            <a:t>, 2020: https://www.who.int/publications/m/item/how-to-budget-for-covid-19-response</a:t>
          </a:r>
        </a:p>
      </dsp:txBody>
      <dsp:txXfrm>
        <a:off x="0" y="942171"/>
        <a:ext cx="7012370" cy="941596"/>
      </dsp:txXfrm>
    </dsp:sp>
    <dsp:sp modelId="{460E8689-C654-45E5-9520-8BA1E323E47D}">
      <dsp:nvSpPr>
        <dsp:cNvPr id="0" name=""/>
        <dsp:cNvSpPr/>
      </dsp:nvSpPr>
      <dsp:spPr>
        <a:xfrm>
          <a:off x="0" y="1883767"/>
          <a:ext cx="7012370" cy="0"/>
        </a:xfrm>
        <a:prstGeom prst="line">
          <a:avLst/>
        </a:prstGeom>
        <a:gradFill rotWithShape="0">
          <a:gsLst>
            <a:gs pos="0">
              <a:schemeClr val="accent5">
                <a:hueOff val="1596505"/>
                <a:satOff val="-1531"/>
                <a:lumOff val="-10098"/>
                <a:alphaOff val="0"/>
                <a:tint val="98000"/>
                <a:lumMod val="110000"/>
              </a:schemeClr>
            </a:gs>
            <a:gs pos="84000">
              <a:schemeClr val="accent5">
                <a:hueOff val="1596505"/>
                <a:satOff val="-1531"/>
                <a:lumOff val="-10098"/>
                <a:alphaOff val="0"/>
                <a:shade val="90000"/>
                <a:lumMod val="88000"/>
              </a:schemeClr>
            </a:gs>
          </a:gsLst>
          <a:lin ang="5400000" scaled="0"/>
        </a:gradFill>
        <a:ln w="12700" cap="rnd" cmpd="sng" algn="ctr">
          <a:solidFill>
            <a:schemeClr val="accent5">
              <a:hueOff val="1596505"/>
              <a:satOff val="-1531"/>
              <a:lumOff val="-10098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5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C8CCB110-607E-48B2-B4F4-956BEFC0F389}">
      <dsp:nvSpPr>
        <dsp:cNvPr id="0" name=""/>
        <dsp:cNvSpPr/>
      </dsp:nvSpPr>
      <dsp:spPr>
        <a:xfrm>
          <a:off x="0" y="1883767"/>
          <a:ext cx="7012370" cy="941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gsw-FR" sz="1500" b="1" kern="1200" noProof="0" dirty="0"/>
            <a:t>Pas de calme après la tempête : il est temps de réorganiser les systèmes nationaux de gestion des finances publiques (GFP) dans le secteur de la santé</a:t>
          </a:r>
          <a:r>
            <a:rPr lang="gsw-FR" sz="1500" kern="1200" noProof="0" dirty="0"/>
            <a:t>, article de blog du FMI : </a:t>
          </a:r>
          <a:r>
            <a:rPr lang="fr-FR" sz="1500" kern="1200" noProof="0" dirty="0"/>
            <a:t>https://p4h.world/fr/oms-bm-pas-de-calme-apres-la-tempete-il-est-temps-de-reorganiser-systemes-nationaux-de-gfp-dans-secteur-sante</a:t>
          </a:r>
          <a:endParaRPr lang="gsw-FR" sz="1500" kern="1200" noProof="0" dirty="0"/>
        </a:p>
      </dsp:txBody>
      <dsp:txXfrm>
        <a:off x="0" y="1883767"/>
        <a:ext cx="7012370" cy="941596"/>
      </dsp:txXfrm>
    </dsp:sp>
    <dsp:sp modelId="{CD166DCB-37C6-4B22-806B-2A121C624497}">
      <dsp:nvSpPr>
        <dsp:cNvPr id="0" name=""/>
        <dsp:cNvSpPr/>
      </dsp:nvSpPr>
      <dsp:spPr>
        <a:xfrm>
          <a:off x="0" y="2825363"/>
          <a:ext cx="7012370" cy="0"/>
        </a:xfrm>
        <a:prstGeom prst="line">
          <a:avLst/>
        </a:prstGeom>
        <a:gradFill rotWithShape="0">
          <a:gsLst>
            <a:gs pos="0">
              <a:schemeClr val="accent5">
                <a:hueOff val="2394757"/>
                <a:satOff val="-2297"/>
                <a:lumOff val="-15146"/>
                <a:alphaOff val="0"/>
                <a:tint val="98000"/>
                <a:lumMod val="110000"/>
              </a:schemeClr>
            </a:gs>
            <a:gs pos="84000">
              <a:schemeClr val="accent5">
                <a:hueOff val="2394757"/>
                <a:satOff val="-2297"/>
                <a:lumOff val="-15146"/>
                <a:alphaOff val="0"/>
                <a:shade val="90000"/>
                <a:lumMod val="88000"/>
              </a:schemeClr>
            </a:gs>
          </a:gsLst>
          <a:lin ang="5400000" scaled="0"/>
        </a:gradFill>
        <a:ln w="12700" cap="rnd" cmpd="sng" algn="ctr">
          <a:solidFill>
            <a:schemeClr val="accent5">
              <a:hueOff val="2394757"/>
              <a:satOff val="-2297"/>
              <a:lumOff val="-15146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5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72C279E3-A0E5-463F-A266-01AC83F7D5F5}">
      <dsp:nvSpPr>
        <dsp:cNvPr id="0" name=""/>
        <dsp:cNvSpPr/>
      </dsp:nvSpPr>
      <dsp:spPr>
        <a:xfrm>
          <a:off x="0" y="2825363"/>
          <a:ext cx="7012370" cy="941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gsw-FR" sz="1500" b="1" kern="1200" noProof="0" dirty="0"/>
            <a:t>Si vous n’êtes pas prêts, il faut vous adapter : leçons tirées de la riposte au COVID-19 pour la gestion des finances publiques </a:t>
          </a:r>
          <a:r>
            <a:rPr lang="gsw-FR" sz="1500" kern="1200" noProof="0" dirty="0"/>
            <a:t>-19, article de blog P4H : https://p4h.world/index.php/en/blog-lessons-for-managing-public-finances-from-COVID-19-response</a:t>
          </a:r>
        </a:p>
      </dsp:txBody>
      <dsp:txXfrm>
        <a:off x="0" y="2825363"/>
        <a:ext cx="7012370" cy="941596"/>
      </dsp:txXfrm>
    </dsp:sp>
    <dsp:sp modelId="{F5F23148-C75C-4592-8E3A-9D75C36F78A8}">
      <dsp:nvSpPr>
        <dsp:cNvPr id="0" name=""/>
        <dsp:cNvSpPr/>
      </dsp:nvSpPr>
      <dsp:spPr>
        <a:xfrm>
          <a:off x="0" y="3766959"/>
          <a:ext cx="7012370" cy="0"/>
        </a:xfrm>
        <a:prstGeom prst="line">
          <a:avLst/>
        </a:prstGeom>
        <a:gradFill rotWithShape="0">
          <a:gsLst>
            <a:gs pos="0">
              <a:schemeClr val="accent5">
                <a:hueOff val="3193009"/>
                <a:satOff val="-3062"/>
                <a:lumOff val="-20195"/>
                <a:alphaOff val="0"/>
                <a:tint val="98000"/>
                <a:lumMod val="110000"/>
              </a:schemeClr>
            </a:gs>
            <a:gs pos="84000">
              <a:schemeClr val="accent5">
                <a:hueOff val="3193009"/>
                <a:satOff val="-3062"/>
                <a:lumOff val="-20195"/>
                <a:alphaOff val="0"/>
                <a:shade val="90000"/>
                <a:lumMod val="88000"/>
              </a:schemeClr>
            </a:gs>
          </a:gsLst>
          <a:lin ang="5400000" scaled="0"/>
        </a:gradFill>
        <a:ln w="12700" cap="rnd" cmpd="sng" algn="ctr">
          <a:solidFill>
            <a:schemeClr val="accent5">
              <a:hueOff val="3193009"/>
              <a:satOff val="-3062"/>
              <a:lumOff val="-20195"/>
              <a:alphaOff val="0"/>
            </a:schemeClr>
          </a:solidFill>
          <a:prstDash val="solid"/>
        </a:ln>
        <a:effectLst>
          <a:outerShdw blurRad="38100" dist="25400" dir="5400000" rotWithShape="0">
            <a:srgbClr val="000000">
              <a:alpha val="55000"/>
            </a:srgbClr>
          </a:outerShdw>
        </a:effectLst>
      </dsp:spPr>
      <dsp:style>
        <a:lnRef idx="1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82F2DAA-0178-4FA0-9602-9DA1330A0CD6}">
      <dsp:nvSpPr>
        <dsp:cNvPr id="0" name=""/>
        <dsp:cNvSpPr/>
      </dsp:nvSpPr>
      <dsp:spPr>
        <a:xfrm>
          <a:off x="0" y="3766959"/>
          <a:ext cx="7012370" cy="94159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t" anchorCtr="0">
          <a:noAutofit/>
        </a:bodyPr>
        <a:lstStyle/>
        <a:p>
          <a:pPr marL="0" lvl="0" indent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500" b="1" kern="1200" noProof="0" dirty="0"/>
            <a:t>Les fonds COVID-19 en réponse à la pandémie</a:t>
          </a:r>
          <a:r>
            <a:rPr lang="gsw-FR" sz="1500" b="1" kern="1200" noProof="0" dirty="0"/>
            <a:t>. </a:t>
          </a:r>
          <a:r>
            <a:rPr lang="gsw-FR" sz="1500" kern="1200" noProof="0" dirty="0"/>
            <a:t>Note de politique du FMI : </a:t>
          </a:r>
          <a:r>
            <a:rPr lang="fr-FR" sz="1500" kern="1200" noProof="0" dirty="0"/>
            <a:t>https://blog-pfm.imf.org/pfmblog/2020/08/-les-fonds-covid-19-en-r%C3%A9ponse-%C3%A0-la-pand%C3%A9mie-.html</a:t>
          </a:r>
          <a:endParaRPr lang="gsw-FR" sz="1500" kern="1200" noProof="0" dirty="0"/>
        </a:p>
      </dsp:txBody>
      <dsp:txXfrm>
        <a:off x="0" y="3766959"/>
        <a:ext cx="7012370" cy="9415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779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7790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F82EE0-014B-4F30-977D-3046F87D92D7}" type="datetimeFigureOut">
              <a:rPr lang="fr-CH" smtClean="0"/>
              <a:t>13.04.2021</a:t>
            </a:fld>
            <a:endParaRPr lang="fr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71500" y="1190625"/>
            <a:ext cx="5715000" cy="3214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583906"/>
            <a:ext cx="5486400" cy="375046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047097"/>
            <a:ext cx="2971800" cy="4779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9047097"/>
            <a:ext cx="2971800" cy="47790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C5347F-EF9C-4F3A-9F57-14A3FBC901D2}" type="slidenum">
              <a:rPr lang="fr-CH" smtClean="0"/>
              <a:t>‹#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3061542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5347F-EF9C-4F3A-9F57-14A3FBC901D2}" type="slidenum">
              <a:rPr lang="fr-CH" smtClean="0"/>
              <a:t>1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22286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defTabSz="457200">
              <a:lnSpc>
                <a:spcPct val="100000"/>
              </a:lnSpc>
              <a:spcBef>
                <a:spcPts val="1000"/>
              </a:spcBef>
              <a:buClr>
                <a:srgbClr val="ACD433"/>
              </a:buClr>
              <a:buSzPct val="80000"/>
              <a:buFont typeface="Wingdings 3" charset="2"/>
              <a:buNone/>
            </a:pPr>
            <a:endParaRPr lang="fr-CH" sz="1200" dirty="0">
              <a:solidFill>
                <a:prstClr val="black">
                  <a:lumMod val="75000"/>
                  <a:lumOff val="25000"/>
                </a:prstClr>
              </a:solidFill>
              <a:latin typeface="Century Gothic" panose="020B0502020202020204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5347F-EF9C-4F3A-9F57-14A3FBC901D2}" type="slidenum">
              <a:rPr lang="fr-CH" smtClean="0"/>
              <a:t>2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4242543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5347F-EF9C-4F3A-9F57-14A3FBC901D2}" type="slidenum">
              <a:rPr lang="fr-CH" smtClean="0"/>
              <a:t>3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736955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fr-CH" sz="1200" dirty="0"/>
          </a:p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5347F-EF9C-4F3A-9F57-14A3FBC901D2}" type="slidenum">
              <a:rPr lang="fr-CH" smtClean="0"/>
              <a:t>4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22039046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5347F-EF9C-4F3A-9F57-14A3FBC901D2}" type="slidenum">
              <a:rPr lang="fr-CH" smtClean="0"/>
              <a:t>5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42932979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5347F-EF9C-4F3A-9F57-14A3FBC901D2}" type="slidenum">
              <a:rPr lang="fr-CH" smtClean="0"/>
              <a:t>7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1898333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C5347F-EF9C-4F3A-9F57-14A3FBC901D2}" type="slidenum">
              <a:rPr lang="fr-CH" smtClean="0"/>
              <a:t>8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4566944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446534" y="3085765"/>
            <a:ext cx="11262866" cy="3304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81191" y="1020431"/>
            <a:ext cx="10993549" cy="1475013"/>
          </a:xfrm>
          <a:effectLst/>
        </p:spPr>
        <p:txBody>
          <a:bodyPr anchor="b">
            <a:normAutofit/>
          </a:bodyPr>
          <a:lstStyle>
            <a:lvl1pPr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81194" y="2495445"/>
            <a:ext cx="10993546" cy="590321"/>
          </a:xfrm>
        </p:spPr>
        <p:txBody>
          <a:bodyPr anchor="t">
            <a:normAutofit/>
          </a:bodyPr>
          <a:lstStyle>
            <a:lvl1pPr marL="0" indent="0" algn="l">
              <a:buNone/>
              <a:defRPr sz="1600" cap="all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605951" y="5956137"/>
            <a:ext cx="284480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81192" y="5951811"/>
            <a:ext cx="691721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16440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92726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12689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8839201" y="599725"/>
            <a:ext cx="2906817" cy="581695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1" y="675726"/>
            <a:ext cx="2004164" cy="5183073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4923" y="675726"/>
            <a:ext cx="7896279" cy="5183073"/>
          </a:xfrm>
        </p:spPr>
        <p:txBody>
          <a:bodyPr vert="eaVert" anchor="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993673" y="5956137"/>
            <a:ext cx="1328141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74923" y="5951811"/>
            <a:ext cx="7896279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446615" y="5956137"/>
            <a:ext cx="1164195" cy="365125"/>
          </a:xfrm>
        </p:spPr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99220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97238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82A376-6EF5-494E-9D46-9749ABC30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ED86826-0B47-6D45-9A09-69FCB4B45E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8EEEF5-923E-8442-AC6F-9C07785690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7C8EDF8-6659-6E4C-90BD-22B736204CCC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B1934C-882A-704A-BC21-3458FD340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291F5C-FCA2-E84D-A32D-B99D310AB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1D4C9D2-29D6-6C46-BFC6-701A83D2D1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7412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95A262B-FC1A-0943-BD05-F7E9E22B7E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DC6B37-F43C-1944-B459-1644A98491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02C000-D5A4-DA41-818F-C417C4738E3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7C8EDF8-6659-6E4C-90BD-22B736204CCC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A0548F-D527-4C41-A131-43DD2369B6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F34702-977A-B04D-8A17-8E170F31C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1D4C9D2-29D6-6C46-BFC6-701A83D2D1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74645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18" name="Picture 2" descr="Header image for the site">
            <a:extLst>
              <a:ext uri="{FF2B5EF4-FFF2-40B4-BE49-F238E27FC236}">
                <a16:creationId xmlns:a16="http://schemas.microsoft.com/office/drawing/2014/main" id="{FA140E08-D486-402C-BD79-BD612121EC7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818377" y="2224148"/>
            <a:ext cx="4775660" cy="110205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684C033-B64C-4F97-B814-1C42385FA358}"/>
              </a:ext>
            </a:extLst>
          </p:cNvPr>
          <p:cNvSpPr txBox="1"/>
          <p:nvPr userDrawn="1"/>
        </p:nvSpPr>
        <p:spPr>
          <a:xfrm>
            <a:off x="5006504" y="3467604"/>
            <a:ext cx="2255016" cy="320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en-GB" sz="2041" dirty="0">
                <a:solidFill>
                  <a:schemeClr val="bg1"/>
                </a:solidFill>
              </a:rPr>
              <a:t>www.expertise.co.ke</a:t>
            </a:r>
          </a:p>
        </p:txBody>
      </p:sp>
      <p:pic>
        <p:nvPicPr>
          <p:cNvPr id="17" name="Picture 16" descr="A close up of a logo&#10;&#10;Description automatically generated">
            <a:extLst>
              <a:ext uri="{FF2B5EF4-FFF2-40B4-BE49-F238E27FC236}">
                <a16:creationId xmlns:a16="http://schemas.microsoft.com/office/drawing/2014/main" id="{100D60A0-89AF-43A3-A651-998E62A96766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54192" t="16788" r="32952" b="70356"/>
          <a:stretch/>
        </p:blipFill>
        <p:spPr>
          <a:xfrm>
            <a:off x="4806344" y="4134431"/>
            <a:ext cx="499430" cy="499420"/>
          </a:xfrm>
          <a:prstGeom prst="ellipse">
            <a:avLst/>
          </a:prstGeom>
        </p:spPr>
      </p:pic>
      <p:pic>
        <p:nvPicPr>
          <p:cNvPr id="18" name="Picture 17" descr="A close up of a logo&#10;&#10;Description automatically generated">
            <a:extLst>
              <a:ext uri="{FF2B5EF4-FFF2-40B4-BE49-F238E27FC236}">
                <a16:creationId xmlns:a16="http://schemas.microsoft.com/office/drawing/2014/main" id="{820D3D08-8D46-4824-8463-532C36C6C66F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11784" t="16322" r="74289" b="70230"/>
          <a:stretch/>
        </p:blipFill>
        <p:spPr>
          <a:xfrm>
            <a:off x="5505625" y="4134431"/>
            <a:ext cx="499430" cy="499420"/>
          </a:xfrm>
          <a:prstGeom prst="ellipse">
            <a:avLst/>
          </a:prstGeom>
        </p:spPr>
      </p:pic>
      <p:pic>
        <p:nvPicPr>
          <p:cNvPr id="19" name="Picture 18" descr="A close up of a logo&#10;&#10;Description automatically generated">
            <a:extLst>
              <a:ext uri="{FF2B5EF4-FFF2-40B4-BE49-F238E27FC236}">
                <a16:creationId xmlns:a16="http://schemas.microsoft.com/office/drawing/2014/main" id="{74390D6C-65A4-40B9-9ADA-DE894CED8E85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32919" t="36820" r="53154" b="49730"/>
          <a:stretch/>
        </p:blipFill>
        <p:spPr>
          <a:xfrm>
            <a:off x="6204906" y="4134431"/>
            <a:ext cx="499430" cy="499420"/>
          </a:xfrm>
          <a:prstGeom prst="ellipse">
            <a:avLst/>
          </a:prstGeom>
        </p:spPr>
      </p:pic>
      <p:pic>
        <p:nvPicPr>
          <p:cNvPr id="20" name="Picture 19" descr="A close up of a logo&#10;&#10;Description automatically generated">
            <a:extLst>
              <a:ext uri="{FF2B5EF4-FFF2-40B4-BE49-F238E27FC236}">
                <a16:creationId xmlns:a16="http://schemas.microsoft.com/office/drawing/2014/main" id="{47102E4B-332B-436A-81E6-3C4F91895809}"/>
              </a:ext>
            </a:extLst>
          </p:cNvPr>
          <p:cNvPicPr>
            <a:picLocks/>
          </p:cNvPicPr>
          <p:nvPr userDrawn="1"/>
        </p:nvPicPr>
        <p:blipFill rotWithShape="1">
          <a:blip r:embed="rId3"/>
          <a:srcRect l="74454" t="16232" r="11617" b="69841"/>
          <a:stretch/>
        </p:blipFill>
        <p:spPr>
          <a:xfrm>
            <a:off x="6904188" y="4134431"/>
            <a:ext cx="499430" cy="499420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2848941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589411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82A376-6EF5-494E-9D46-9749ABC305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ED86826-0B47-6D45-9A09-69FCB4B45E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8EEEF5-923E-8442-AC6F-9C07785690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7C8EDF8-6659-6E4C-90BD-22B736204CCC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B1934C-882A-704A-BC21-3458FD340F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2291F5C-FCA2-E84D-A32D-B99D310AB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1D4C9D2-29D6-6C46-BFC6-701A83D2D1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8269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95A262B-FC1A-0943-BD05-F7E9E22B7E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7DC6B37-F43C-1944-B459-1644A98491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702C000-D5A4-DA41-818F-C417C4738E3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D7C8EDF8-6659-6E4C-90BD-22B736204CCC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A0548F-D527-4C41-A131-43DD2369B6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F34702-977A-B04D-8A17-8E170F31C1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1D4C9D2-29D6-6C46-BFC6-701A83D2D1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9673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>
            <a:spLocks noChangeAspect="1"/>
          </p:cNvSpPr>
          <p:nvPr/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192" y="2180496"/>
            <a:ext cx="11029615" cy="367830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0558300" y="5956137"/>
            <a:ext cx="1052508" cy="365125"/>
          </a:xfrm>
        </p:spPr>
        <p:txBody>
          <a:bodyPr/>
          <a:lstStyle/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86219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7817" y="5141974"/>
            <a:ext cx="11290860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3043910"/>
            <a:ext cx="11029615" cy="1497507"/>
          </a:xfrm>
        </p:spPr>
        <p:txBody>
          <a:bodyPr anchor="b">
            <a:normAutofit/>
          </a:bodyPr>
          <a:lstStyle>
            <a:lvl1pPr algn="l">
              <a:defRPr sz="3600" b="0" cap="all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4541417"/>
            <a:ext cx="11029615" cy="600556"/>
          </a:xfrm>
        </p:spPr>
        <p:txBody>
          <a:bodyPr anchor="t">
            <a:normAutofit/>
          </a:bodyPr>
          <a:lstStyle>
            <a:lvl1pPr marL="0" indent="0" algn="l">
              <a:buNone/>
              <a:defRPr sz="1800" cap="all">
                <a:solidFill>
                  <a:schemeClr val="accent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62421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193" y="2228003"/>
            <a:ext cx="5422390" cy="3633047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8417" y="2228003"/>
            <a:ext cx="5422392" cy="3633047"/>
          </a:xfrm>
        </p:spPr>
        <p:txBody>
          <a:bodyPr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70988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>
            <a:spLocks noChangeAspect="1"/>
          </p:cNvSpPr>
          <p:nvPr/>
        </p:nvSpPr>
        <p:spPr>
          <a:xfrm>
            <a:off x="445982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581193" y="729658"/>
            <a:ext cx="11029616" cy="98833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87219" y="2250892"/>
            <a:ext cx="5087075" cy="536005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1194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523735" y="2250892"/>
            <a:ext cx="5087073" cy="553373"/>
          </a:xfrm>
        </p:spPr>
        <p:txBody>
          <a:bodyPr anchor="b">
            <a:noAutofit/>
          </a:bodyPr>
          <a:lstStyle>
            <a:lvl1pPr marL="0" indent="0">
              <a:buNone/>
              <a:defRPr sz="2200" b="0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709" y="2926052"/>
            <a:ext cx="5393100" cy="2934999"/>
          </a:xfrm>
        </p:spPr>
        <p:txBody>
          <a:bodyPr anchor="t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910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/>
          <p:cNvSpPr>
            <a:spLocks noChangeAspect="1"/>
          </p:cNvSpPr>
          <p:nvPr/>
        </p:nvSpPr>
        <p:spPr>
          <a:xfrm>
            <a:off x="440683" y="606554"/>
            <a:ext cx="11300036" cy="125882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988332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19608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2353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spect="1"/>
          </p:cNvSpPr>
          <p:nvPr/>
        </p:nvSpPr>
        <p:spPr>
          <a:xfrm>
            <a:off x="447817" y="5141973"/>
            <a:ext cx="11298200" cy="1274702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2" y="5262296"/>
            <a:ext cx="4909445" cy="689514"/>
          </a:xfrm>
        </p:spPr>
        <p:txBody>
          <a:bodyPr anchor="ctr"/>
          <a:lstStyle>
            <a:lvl1pPr algn="l">
              <a:defRPr sz="2000" b="0"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7816" y="601200"/>
            <a:ext cx="11292840" cy="4204800"/>
          </a:xfrm>
        </p:spPr>
        <p:txBody>
          <a:bodyPr anchor="ctr">
            <a:normAutofit/>
          </a:bodyPr>
          <a:lstStyle>
            <a:lvl1pPr>
              <a:defRPr sz="20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4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  <a:lvl6pPr>
              <a:defRPr sz="1400">
                <a:solidFill>
                  <a:schemeClr val="tx2"/>
                </a:solidFill>
              </a:defRPr>
            </a:lvl6pPr>
            <a:lvl7pPr>
              <a:defRPr sz="1400">
                <a:solidFill>
                  <a:schemeClr val="tx2"/>
                </a:solidFill>
              </a:defRPr>
            </a:lvl7pPr>
            <a:lvl8pPr>
              <a:defRPr sz="1400">
                <a:solidFill>
                  <a:schemeClr val="tx2"/>
                </a:solidFill>
              </a:defRPr>
            </a:lvl8pPr>
            <a:lvl9pPr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40823" y="5262296"/>
            <a:ext cx="5869987" cy="689515"/>
          </a:xfrm>
        </p:spPr>
        <p:txBody>
          <a:bodyPr anchor="ctr">
            <a:normAutofit/>
          </a:bodyPr>
          <a:lstStyle>
            <a:lvl1pPr marL="0" indent="0" algn="r">
              <a:buNone/>
              <a:defRPr sz="1100">
                <a:solidFill>
                  <a:schemeClr val="bg1"/>
                </a:solidFill>
              </a:defRPr>
            </a:lvl1pPr>
            <a:lvl2pPr marL="457200" indent="0">
              <a:buNone/>
              <a:defRPr sz="11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  <a:lumOff val="25000"/>
                  </a:schemeClr>
                </a:solidFill>
              </a:defRPr>
            </a:lvl1pPr>
          </a:lstStyle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83072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93" y="4693389"/>
            <a:ext cx="11029616" cy="566738"/>
          </a:xfr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47817" y="599725"/>
            <a:ext cx="11290859" cy="3557252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81192" y="5260127"/>
            <a:ext cx="11029617" cy="598671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33769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192" y="705124"/>
            <a:ext cx="11029616" cy="118955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192" y="2336003"/>
            <a:ext cx="11029616" cy="35227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605951" y="5956137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446350C0-77CB-A548-AEDC-5A7AE0894823}" type="datetimeFigureOut">
              <a:rPr lang="en-US" smtClean="0"/>
              <a:t>4/1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81192" y="5951811"/>
            <a:ext cx="69172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cap="all">
                <a:solidFill>
                  <a:schemeClr val="accent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558300" y="5956137"/>
            <a:ext cx="105251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</a:defRPr>
            </a:lvl1pPr>
          </a:lstStyle>
          <a:p>
            <a:fld id="{473C7E4D-7B61-3D44-A3A4-14E4905ACEB7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Rectangle 10"/>
          <p:cNvSpPr/>
          <p:nvPr/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202986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2800" b="0" kern="1200" cap="all">
          <a:solidFill>
            <a:schemeClr val="bg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06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630000" indent="-306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900000" indent="-270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24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4pPr>
      <a:lvl5pPr marL="1602000" indent="-2340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9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6pPr>
      <a:lvl7pPr marL="22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7pPr>
      <a:lvl8pPr marL="25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8pPr>
      <a:lvl9pPr marL="2800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accent2"/>
        </a:buClr>
        <a:buSzPct val="92000"/>
        <a:buFont typeface="Wingdings 2" panose="05020102010507070707" pitchFamily="18" charset="2"/>
        <a:buChar char=""/>
        <a:defRPr sz="12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cK 2. Slide Title">
            <a:extLst>
              <a:ext uri="{FF2B5EF4-FFF2-40B4-BE49-F238E27FC236}">
                <a16:creationId xmlns:a16="http://schemas.microsoft.com/office/drawing/2014/main" id="{8E8531FF-CC33-C54C-8814-EFC9E8141A18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6"/>
            </p:custDataLst>
          </p:nvPr>
        </p:nvSpPr>
        <p:spPr bwMode="gray">
          <a:xfrm>
            <a:off x="661077" y="552425"/>
            <a:ext cx="10917565" cy="3877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8" name="Rectangle 286">
            <a:extLst>
              <a:ext uri="{FF2B5EF4-FFF2-40B4-BE49-F238E27FC236}">
                <a16:creationId xmlns:a16="http://schemas.microsoft.com/office/drawing/2014/main" id="{C27AE9AA-7FAB-2145-A1CE-AD0C3FB1D3F7}"/>
              </a:ext>
            </a:extLst>
          </p:cNvPr>
          <p:cNvSpPr>
            <a:spLocks noGrp="1" noChangeArrowheads="1"/>
          </p:cNvSpPr>
          <p:nvPr>
            <p:ph type="body" idx="1"/>
            <p:custDataLst>
              <p:tags r:id="rId7"/>
            </p:custDataLst>
          </p:nvPr>
        </p:nvSpPr>
        <p:spPr bwMode="gray">
          <a:xfrm>
            <a:off x="3454276" y="2640657"/>
            <a:ext cx="5736421" cy="1752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grpSp>
        <p:nvGrpSpPr>
          <p:cNvPr id="9" name="McK Slide Elements">
            <a:extLst>
              <a:ext uri="{FF2B5EF4-FFF2-40B4-BE49-F238E27FC236}">
                <a16:creationId xmlns:a16="http://schemas.microsoft.com/office/drawing/2014/main" id="{5185CDE1-65F1-A84F-B02A-4D4C4FF03D3F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158758" y="6146801"/>
            <a:ext cx="9836585" cy="352425"/>
            <a:chOff x="75" y="3872"/>
            <a:chExt cx="4647" cy="222"/>
          </a:xfrm>
        </p:grpSpPr>
        <p:sp>
          <p:nvSpPr>
            <p:cNvPr id="10" name="McK 4. Footnote" hidden="1">
              <a:extLst>
                <a:ext uri="{FF2B5EF4-FFF2-40B4-BE49-F238E27FC236}">
                  <a16:creationId xmlns:a16="http://schemas.microsoft.com/office/drawing/2014/main" id="{22756673-A570-9F41-A9DA-20A29A473D35}"/>
                </a:ext>
              </a:extLst>
            </p:cNvPr>
            <p:cNvSpPr txBox="1">
              <a:spLocks noChangeArrowheads="1"/>
            </p:cNvSpPr>
            <p:nvPr userDrawn="1"/>
          </p:nvSpPr>
          <p:spPr bwMode="gray">
            <a:xfrm>
              <a:off x="75" y="3872"/>
              <a:ext cx="4647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4775" indent="-104775" defTabSz="895350">
                <a:defRPr/>
              </a:pPr>
              <a:r>
                <a:rPr lang="en-US" altLang="zh-CN" sz="1000" dirty="0">
                  <a:latin typeface="Lato" panose="020F0502020204030203" pitchFamily="34" charset="77"/>
                  <a:ea typeface="SimSun" pitchFamily="2" charset="-122"/>
                </a:rPr>
                <a:t>1 Footnote</a:t>
              </a:r>
            </a:p>
          </p:txBody>
        </p:sp>
        <p:sp>
          <p:nvSpPr>
            <p:cNvPr id="11" name="McK 5. Source" hidden="1">
              <a:extLst>
                <a:ext uri="{FF2B5EF4-FFF2-40B4-BE49-F238E27FC236}">
                  <a16:creationId xmlns:a16="http://schemas.microsoft.com/office/drawing/2014/main" id="{5AC8B7BB-CEEA-F548-836E-08B1FE5072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75" y="3998"/>
              <a:ext cx="4647" cy="9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495300" indent="-495300" defTabSz="895350">
                <a:tabLst>
                  <a:tab pos="487363" algn="l"/>
                </a:tabLst>
                <a:defRPr/>
              </a:pPr>
              <a:r>
                <a:rPr lang="en-US" altLang="zh-CN" sz="1000" dirty="0">
                  <a:solidFill>
                    <a:srgbClr val="000000"/>
                  </a:solidFill>
                  <a:latin typeface="Lato" panose="020F0502020204030203" pitchFamily="34" charset="77"/>
                  <a:ea typeface="SimSun" pitchFamily="2" charset="-122"/>
                </a:rPr>
                <a:t>Source:	Source</a:t>
              </a:r>
            </a:p>
          </p:txBody>
        </p:sp>
      </p:grpSp>
      <p:sp>
        <p:nvSpPr>
          <p:cNvPr id="12" name="Rectangle 318">
            <a:extLst>
              <a:ext uri="{FF2B5EF4-FFF2-40B4-BE49-F238E27FC236}">
                <a16:creationId xmlns:a16="http://schemas.microsoft.com/office/drawing/2014/main" id="{F1B26567-FA2C-A74F-8CE8-8C51E67694AE}"/>
              </a:ext>
            </a:extLst>
          </p:cNvPr>
          <p:cNvSpPr>
            <a:spLocks noGrp="1" noChangeArrowheads="1"/>
          </p:cNvSpPr>
          <p:nvPr>
            <p:ph type="sldNum" sz="quarter" idx="4"/>
            <p:custDataLst>
              <p:tags r:id="rId8"/>
            </p:custDataLst>
          </p:nvPr>
        </p:nvSpPr>
        <p:spPr bwMode="gray">
          <a:xfrm>
            <a:off x="1433116" y="6405662"/>
            <a:ext cx="15388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Lato" panose="020F0502020204030203" pitchFamily="34" charset="77"/>
                <a:cs typeface="+mn-cs"/>
              </a:defRPr>
            </a:lvl1pPr>
          </a:lstStyle>
          <a:p>
            <a:pPr>
              <a:defRPr/>
            </a:pPr>
            <a:fld id="{48997AFD-0C3B-47BF-8889-82E401316E7A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17D4A639-8537-1E42-8594-CF7E7E0406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7020" y="6005824"/>
            <a:ext cx="1064207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lang="en-US" sz="1000">
                <a:latin typeface="Lato" panose="020F0502020204030203" pitchFamily="34" charset="77"/>
                <a:ea typeface="MS PGothic" pitchFamily="34" charset="-128"/>
                <a:cs typeface="Lato" panose="020F0502020204030203" pitchFamily="34" charset="77"/>
              </a:defRPr>
            </a:lvl1pPr>
          </a:lstStyle>
          <a:p>
            <a:r>
              <a:rPr lang="en-US" dirty="0"/>
              <a:t>Footnote</a:t>
            </a:r>
          </a:p>
          <a:p>
            <a:r>
              <a:rPr lang="en-US" dirty="0"/>
              <a:t>Source: Sourc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D87E1C7E-47A1-2248-9D99-4A3718D982F5}"/>
              </a:ext>
            </a:extLst>
          </p:cNvPr>
          <p:cNvGrpSpPr/>
          <p:nvPr userDrawn="1"/>
        </p:nvGrpSpPr>
        <p:grpSpPr>
          <a:xfrm>
            <a:off x="157021" y="552425"/>
            <a:ext cx="360040" cy="430887"/>
            <a:chOff x="157021" y="230188"/>
            <a:chExt cx="360040" cy="430887"/>
          </a:xfrm>
          <a:solidFill>
            <a:srgbClr val="FB8C23"/>
          </a:solidFill>
        </p:grpSpPr>
        <p:sp>
          <p:nvSpPr>
            <p:cNvPr id="15" name="Arrow: Chevron 24">
              <a:extLst>
                <a:ext uri="{FF2B5EF4-FFF2-40B4-BE49-F238E27FC236}">
                  <a16:creationId xmlns:a16="http://schemas.microsoft.com/office/drawing/2014/main" id="{35E3DC35-5CF9-B849-B19C-47B538F91D8A}"/>
                </a:ext>
              </a:extLst>
            </p:cNvPr>
            <p:cNvSpPr/>
            <p:nvPr userDrawn="1"/>
          </p:nvSpPr>
          <p:spPr bwMode="gray">
            <a:xfrm>
              <a:off x="157021" y="230188"/>
              <a:ext cx="216024" cy="430887"/>
            </a:xfrm>
            <a:prstGeom prst="chevron">
              <a:avLst>
                <a:gd name="adj" fmla="val 61828"/>
              </a:avLst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895350">
                <a:buClr>
                  <a:schemeClr val="tx2"/>
                </a:buClr>
              </a:pPr>
              <a:endParaRPr lang="en-GB" dirty="0" err="1">
                <a:latin typeface="Lato" panose="020F0502020204030203" pitchFamily="34" charset="77"/>
              </a:endParaRPr>
            </a:p>
          </p:txBody>
        </p:sp>
        <p:sp>
          <p:nvSpPr>
            <p:cNvPr id="16" name="Arrow: Chevron 25">
              <a:extLst>
                <a:ext uri="{FF2B5EF4-FFF2-40B4-BE49-F238E27FC236}">
                  <a16:creationId xmlns:a16="http://schemas.microsoft.com/office/drawing/2014/main" id="{72986727-AC35-0B45-AB5F-98DC1E529E55}"/>
                </a:ext>
              </a:extLst>
            </p:cNvPr>
            <p:cNvSpPr/>
            <p:nvPr userDrawn="1"/>
          </p:nvSpPr>
          <p:spPr bwMode="gray">
            <a:xfrm>
              <a:off x="301037" y="230188"/>
              <a:ext cx="216024" cy="430887"/>
            </a:xfrm>
            <a:prstGeom prst="chevron">
              <a:avLst>
                <a:gd name="adj" fmla="val 61828"/>
              </a:avLst>
            </a:prstGeom>
            <a:grpFill/>
            <a:ln w="9525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895350">
                <a:buClr>
                  <a:schemeClr val="tx2"/>
                </a:buClr>
              </a:pPr>
              <a:endParaRPr lang="en-GB" dirty="0" err="1">
                <a:latin typeface="Lato" panose="020F0502020204030203" pitchFamily="34" charset="77"/>
              </a:endParaRPr>
            </a:p>
          </p:txBody>
        </p:sp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50929666-FC56-EA42-B115-24A11BD515D2}"/>
              </a:ext>
            </a:extLst>
          </p:cNvPr>
          <p:cNvSpPr/>
          <p:nvPr userDrawn="1"/>
        </p:nvSpPr>
        <p:spPr bwMode="gray">
          <a:xfrm>
            <a:off x="1654076" y="6405662"/>
            <a:ext cx="9073008" cy="153888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895350">
              <a:buClr>
                <a:schemeClr val="tx2"/>
              </a:buClr>
            </a:pPr>
            <a:endParaRPr lang="en-GB" dirty="0" err="1">
              <a:latin typeface="Lato" panose="020F0502020204030203" pitchFamily="34" charset="77"/>
            </a:endParaRPr>
          </a:p>
        </p:txBody>
      </p:sp>
      <p:pic>
        <p:nvPicPr>
          <p:cNvPr id="18" name="Picture 17" descr="A close up of a black background&#10;&#10;Description automatically generated">
            <a:extLst>
              <a:ext uri="{FF2B5EF4-FFF2-40B4-BE49-F238E27FC236}">
                <a16:creationId xmlns:a16="http://schemas.microsoft.com/office/drawing/2014/main" id="{9720FE6D-FD76-B441-87FE-44D6A3F2BC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/>
          <a:srcRect l="18900" t="41731" r="14952" b="40550"/>
          <a:stretch/>
        </p:blipFill>
        <p:spPr>
          <a:xfrm>
            <a:off x="10799092" y="6313601"/>
            <a:ext cx="1073311" cy="287495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8C6B10B-0363-2F45-82EE-B8A33A6267AF}"/>
              </a:ext>
            </a:extLst>
          </p:cNvPr>
          <p:cNvSpPr/>
          <p:nvPr userDrawn="1"/>
        </p:nvSpPr>
        <p:spPr bwMode="gray">
          <a:xfrm>
            <a:off x="157020" y="6405662"/>
            <a:ext cx="1209023" cy="153888"/>
          </a:xfrm>
          <a:prstGeom prst="rect">
            <a:avLst/>
          </a:prstGeom>
          <a:solidFill>
            <a:srgbClr val="FB8C23"/>
          </a:solidFill>
          <a:ln w="9525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895350">
              <a:buClr>
                <a:schemeClr val="tx2"/>
              </a:buClr>
            </a:pPr>
            <a:endParaRPr lang="en-GB" dirty="0" err="1">
              <a:latin typeface="Lato" panose="020F0502020204030203" pitchFamily="34" charset="77"/>
            </a:endParaRPr>
          </a:p>
        </p:txBody>
      </p:sp>
      <p:sp>
        <p:nvSpPr>
          <p:cNvPr id="20" name="Freeform: Shape 26">
            <a:extLst>
              <a:ext uri="{FF2B5EF4-FFF2-40B4-BE49-F238E27FC236}">
                <a16:creationId xmlns:a16="http://schemas.microsoft.com/office/drawing/2014/main" id="{07B6C13E-F476-FD48-ABDE-F854775F7081}"/>
              </a:ext>
            </a:extLst>
          </p:cNvPr>
          <p:cNvSpPr/>
          <p:nvPr userDrawn="1"/>
        </p:nvSpPr>
        <p:spPr bwMode="gray">
          <a:xfrm flipH="1">
            <a:off x="0" y="0"/>
            <a:ext cx="2662188" cy="430887"/>
          </a:xfrm>
          <a:custGeom>
            <a:avLst/>
            <a:gdLst>
              <a:gd name="connsiteX0" fmla="*/ 2662188 w 2662188"/>
              <a:gd name="connsiteY0" fmla="*/ 0 h 430887"/>
              <a:gd name="connsiteX1" fmla="*/ 0 w 2662188"/>
              <a:gd name="connsiteY1" fmla="*/ 0 h 430887"/>
              <a:gd name="connsiteX2" fmla="*/ 360040 w 2662188"/>
              <a:gd name="connsiteY2" fmla="*/ 430887 h 430887"/>
              <a:gd name="connsiteX3" fmla="*/ 2662188 w 2662188"/>
              <a:gd name="connsiteY3" fmla="*/ 430887 h 430887"/>
              <a:gd name="connsiteX4" fmla="*/ 2662188 w 2662188"/>
              <a:gd name="connsiteY4" fmla="*/ 0 h 430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662188" h="430887">
                <a:moveTo>
                  <a:pt x="2662188" y="0"/>
                </a:moveTo>
                <a:lnTo>
                  <a:pt x="0" y="0"/>
                </a:lnTo>
                <a:lnTo>
                  <a:pt x="360040" y="430887"/>
                </a:lnTo>
                <a:lnTo>
                  <a:pt x="2662188" y="430887"/>
                </a:lnTo>
                <a:lnTo>
                  <a:pt x="2662188" y="0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l" defTabSz="895350">
              <a:buClr>
                <a:schemeClr val="tx2"/>
              </a:buClr>
            </a:pPr>
            <a:endParaRPr lang="en-GB" dirty="0" err="1">
              <a:latin typeface="Lato" panose="020F0502020204030203" pitchFamily="34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792504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26" r:id="rId2"/>
    <p:sldLayoutId id="2147483727" r:id="rId3"/>
    <p:sldLayoutId id="2147483732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tx1">
              <a:lumMod val="50000"/>
              <a:lumOff val="50000"/>
            </a:schemeClr>
          </a:solidFill>
          <a:latin typeface="Lato" panose="020F0502020204030203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" name="Group 20">
            <a:extLst>
              <a:ext uri="{FF2B5EF4-FFF2-40B4-BE49-F238E27FC236}">
                <a16:creationId xmlns:a16="http://schemas.microsoft.com/office/drawing/2014/main" id="{343AA137-695B-9547-8673-F67A2120906E}"/>
              </a:ext>
            </a:extLst>
          </p:cNvPr>
          <p:cNvGrpSpPr/>
          <p:nvPr userDrawn="1"/>
        </p:nvGrpSpPr>
        <p:grpSpPr>
          <a:xfrm>
            <a:off x="4155670" y="0"/>
            <a:ext cx="5893399" cy="6721474"/>
            <a:chOff x="3906880" y="1"/>
            <a:chExt cx="5893399" cy="6721474"/>
          </a:xfrm>
        </p:grpSpPr>
        <p:sp>
          <p:nvSpPr>
            <p:cNvPr id="22" name="Parallelogram 21">
              <a:extLst>
                <a:ext uri="{FF2B5EF4-FFF2-40B4-BE49-F238E27FC236}">
                  <a16:creationId xmlns:a16="http://schemas.microsoft.com/office/drawing/2014/main" id="{7A7625E9-ECED-8147-80EB-7854C421130B}"/>
                </a:ext>
              </a:extLst>
            </p:cNvPr>
            <p:cNvSpPr/>
            <p:nvPr userDrawn="1"/>
          </p:nvSpPr>
          <p:spPr bwMode="gray">
            <a:xfrm>
              <a:off x="4468452" y="1"/>
              <a:ext cx="5331827" cy="6721474"/>
            </a:xfrm>
            <a:prstGeom prst="parallelogram">
              <a:avLst>
                <a:gd name="adj" fmla="val 71499"/>
              </a:avLst>
            </a:prstGeom>
            <a:solidFill>
              <a:srgbClr val="FB8C23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l" defTabSz="895350">
                <a:buClr>
                  <a:schemeClr val="tx2"/>
                </a:buClr>
              </a:pPr>
              <a:endParaRPr lang="en-GB" dirty="0" err="1">
                <a:latin typeface="Lato" panose="020F0502020204030203" pitchFamily="34" charset="77"/>
              </a:endParaRPr>
            </a:p>
          </p:txBody>
        </p:sp>
        <p:sp>
          <p:nvSpPr>
            <p:cNvPr id="23" name="Parallelogram 22">
              <a:extLst>
                <a:ext uri="{FF2B5EF4-FFF2-40B4-BE49-F238E27FC236}">
                  <a16:creationId xmlns:a16="http://schemas.microsoft.com/office/drawing/2014/main" id="{9E2B123F-ABDC-BE43-8EB9-E3E076E3869F}"/>
                </a:ext>
              </a:extLst>
            </p:cNvPr>
            <p:cNvSpPr/>
            <p:nvPr userDrawn="1"/>
          </p:nvSpPr>
          <p:spPr bwMode="gray">
            <a:xfrm>
              <a:off x="3906880" y="5737000"/>
              <a:ext cx="841510" cy="984474"/>
            </a:xfrm>
            <a:prstGeom prst="parallelogram">
              <a:avLst>
                <a:gd name="adj" fmla="val 64688"/>
              </a:avLst>
            </a:prstGeom>
            <a:solidFill>
              <a:srgbClr val="002060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rot="0" spcFirstLastPara="0" vertOverflow="overflow" horzOverflow="overflow" vert="horz" wrap="square" lIns="90000" tIns="90000" rIns="90000" bIns="90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l"/>
              <a:endParaRPr lang="en-GB" dirty="0" err="1">
                <a:latin typeface="Lato" panose="020F0502020204030203" pitchFamily="34" charset="77"/>
              </a:endParaRPr>
            </a:p>
          </p:txBody>
        </p:sp>
        <p:sp>
          <p:nvSpPr>
            <p:cNvPr id="24" name="Freeform: Shape 35">
              <a:extLst>
                <a:ext uri="{FF2B5EF4-FFF2-40B4-BE49-F238E27FC236}">
                  <a16:creationId xmlns:a16="http://schemas.microsoft.com/office/drawing/2014/main" id="{92E5F49C-A42C-A94F-BDCA-ED8BBE4FEF94}"/>
                </a:ext>
              </a:extLst>
            </p:cNvPr>
            <p:cNvSpPr/>
            <p:nvPr userDrawn="1"/>
          </p:nvSpPr>
          <p:spPr bwMode="gray">
            <a:xfrm>
              <a:off x="4726004" y="2387065"/>
              <a:ext cx="2233061" cy="3349592"/>
            </a:xfrm>
            <a:custGeom>
              <a:avLst/>
              <a:gdLst>
                <a:gd name="connsiteX0" fmla="*/ 2233061 w 2233061"/>
                <a:gd name="connsiteY0" fmla="*/ 0 h 3349592"/>
                <a:gd name="connsiteX1" fmla="*/ 1944303 w 2233061"/>
                <a:gd name="connsiteY1" fmla="*/ 0 h 3349592"/>
                <a:gd name="connsiteX2" fmla="*/ 0 w 2233061"/>
                <a:gd name="connsiteY2" fmla="*/ 3349592 h 334959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33061" h="3349592">
                  <a:moveTo>
                    <a:pt x="2233061" y="0"/>
                  </a:moveTo>
                  <a:lnTo>
                    <a:pt x="1944303" y="0"/>
                  </a:lnTo>
                  <a:lnTo>
                    <a:pt x="0" y="3349592"/>
                  </a:lnTo>
                </a:path>
              </a:pathLst>
            </a:custGeom>
            <a:noFill/>
            <a:ln w="38100">
              <a:solidFill>
                <a:srgbClr val="FB8C23"/>
              </a:solidFill>
              <a:miter lim="800000"/>
              <a:headEnd/>
              <a:tailEnd/>
            </a:ln>
            <a:effectLst/>
          </p:spPr>
          <p:txBody>
            <a:bodyPr rtlCol="0" anchor="ctr"/>
            <a:lstStyle/>
            <a:p>
              <a:pPr algn="ctr"/>
              <a:endParaRPr lang="en-GB">
                <a:latin typeface="Lato" panose="020F0502020204030203" pitchFamily="34" charset="77"/>
              </a:endParaRPr>
            </a:p>
          </p:txBody>
        </p:sp>
      </p:grpSp>
      <p:grpSp>
        <p:nvGrpSpPr>
          <p:cNvPr id="25" name="McK Title Elements">
            <a:extLst>
              <a:ext uri="{FF2B5EF4-FFF2-40B4-BE49-F238E27FC236}">
                <a16:creationId xmlns:a16="http://schemas.microsoft.com/office/drawing/2014/main" id="{C5ABFFE8-02FD-2549-B994-C822634D59C1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679481" y="5630864"/>
            <a:ext cx="7055162" cy="484187"/>
            <a:chOff x="321" y="3547"/>
            <a:chExt cx="3333" cy="305"/>
          </a:xfrm>
        </p:grpSpPr>
        <p:sp>
          <p:nvSpPr>
            <p:cNvPr id="26" name="McK Document type" hidden="1">
              <a:extLst>
                <a:ext uri="{FF2B5EF4-FFF2-40B4-BE49-F238E27FC236}">
                  <a16:creationId xmlns:a16="http://schemas.microsoft.com/office/drawing/2014/main" id="{DFD4B97E-69E6-5F43-BFF8-184E794316DD}"/>
                </a:ext>
              </a:extLst>
            </p:cNvPr>
            <p:cNvSpPr txBox="1">
              <a:spLocks noChangeArrowheads="1"/>
            </p:cNvSpPr>
            <p:nvPr userDrawn="1">
              <p:custDataLst>
                <p:tags r:id="rId5"/>
              </p:custDataLst>
            </p:nvPr>
          </p:nvSpPr>
          <p:spPr bwMode="gray">
            <a:xfrm>
              <a:off x="321" y="3547"/>
              <a:ext cx="3333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>
                <a:defRPr/>
              </a:pPr>
              <a:r>
                <a:rPr lang="en-GB" sz="1400" dirty="0">
                  <a:latin typeface="Lato" panose="020F0502020204030203" pitchFamily="34" charset="77"/>
                  <a:cs typeface="+mn-cs"/>
                </a:rPr>
                <a:t>Document type</a:t>
              </a:r>
            </a:p>
          </p:txBody>
        </p:sp>
        <p:sp>
          <p:nvSpPr>
            <p:cNvPr id="27" name="McK Date" hidden="1">
              <a:extLst>
                <a:ext uri="{FF2B5EF4-FFF2-40B4-BE49-F238E27FC236}">
                  <a16:creationId xmlns:a16="http://schemas.microsoft.com/office/drawing/2014/main" id="{313821A8-E6C9-9F42-97D3-062166115782}"/>
                </a:ext>
              </a:extLst>
            </p:cNvPr>
            <p:cNvSpPr txBox="1">
              <a:spLocks noChangeArrowheads="1"/>
            </p:cNvSpPr>
            <p:nvPr userDrawn="1">
              <p:custDataLst>
                <p:tags r:id="rId6"/>
              </p:custDataLst>
            </p:nvPr>
          </p:nvSpPr>
          <p:spPr bwMode="gray">
            <a:xfrm>
              <a:off x="321" y="3716"/>
              <a:ext cx="3333" cy="13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en-GB" sz="1400" dirty="0">
                  <a:latin typeface="Lato" panose="020F0502020204030203" pitchFamily="34" charset="77"/>
                  <a:cs typeface="+mn-cs"/>
                </a:rPr>
                <a:t>Date</a:t>
              </a:r>
            </a:p>
          </p:txBody>
        </p:sp>
      </p:grpSp>
      <p:pic>
        <p:nvPicPr>
          <p:cNvPr id="31" name="Picture 30" descr="A close up of a black background&#10;&#10;Description automatically generated">
            <a:extLst>
              <a:ext uri="{FF2B5EF4-FFF2-40B4-BE49-F238E27FC236}">
                <a16:creationId xmlns:a16="http://schemas.microsoft.com/office/drawing/2014/main" id="{7967CF10-E7FC-D649-991B-54DD3794A2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18900" t="41731" r="14952" b="40550"/>
          <a:stretch/>
        </p:blipFill>
        <p:spPr>
          <a:xfrm>
            <a:off x="303116" y="5520977"/>
            <a:ext cx="3591844" cy="962101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CB24943-DFF9-D942-871D-6AFE56D08AF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r="703"/>
          <a:stretch/>
        </p:blipFill>
        <p:spPr>
          <a:xfrm>
            <a:off x="4990442" y="-1"/>
            <a:ext cx="6958671" cy="6721475"/>
          </a:xfrm>
          <a:prstGeom prst="rect">
            <a:avLst/>
          </a:prstGeom>
        </p:spPr>
      </p:pic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1D6A1EEF-CE16-B143-A55B-5AF0FDB3E4B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496" y="839990"/>
            <a:ext cx="7155000" cy="114632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6E74E6-9197-0748-A3CC-C3549A9D364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8496" y="2680218"/>
            <a:ext cx="5331827" cy="43550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8004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rgbClr val="002060"/>
          </a:solidFill>
          <a:latin typeface="Lato" panose="020F0502020204030203" pitchFamily="34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02060"/>
          </a:solidFill>
          <a:latin typeface="Lato" panose="020F0502020204030203" pitchFamily="34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eg"/><Relationship Id="rId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6" name="Rectangle 15">
            <a:extLst>
              <a:ext uri="{FF2B5EF4-FFF2-40B4-BE49-F238E27FC236}">
                <a16:creationId xmlns:a16="http://schemas.microsoft.com/office/drawing/2014/main" id="{4CFB7F65-9106-4CAB-B5F1-B6B1476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0996FEB-A7FD-41B5-AC7B-E2ED8B7623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F3AC5DB-7693-457F-ACCC-7E0B50B989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F9DE51B-4C99-46DA-BAA8-AFBACAA90C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C96A87B-A6AF-49F9-A35C-DBCD32934F7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3" y="641075"/>
            <a:ext cx="11296733" cy="21910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28E2025-9572-2044-8D87-6B31CEC9B1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1191" y="776445"/>
            <a:ext cx="10993549" cy="1140874"/>
          </a:xfrm>
        </p:spPr>
        <p:txBody>
          <a:bodyPr>
            <a:normAutofit fontScale="90000"/>
          </a:bodyPr>
          <a:lstStyle/>
          <a:p>
            <a:br>
              <a:rPr lang="en-US" b="1" dirty="0">
                <a:solidFill>
                  <a:srgbClr val="FFFFFF"/>
                </a:solidFill>
              </a:rPr>
            </a:br>
            <a:r>
              <a:rPr lang="fr-FR" sz="2700" b="1" dirty="0">
                <a:solidFill>
                  <a:srgbClr val="FFFFFF"/>
                </a:solidFill>
              </a:rPr>
              <a:t>Financement,  ACHAT et distribution des vaccins CONTRE LA COVID-19 en Afrique : événement en ligne d’échange et d’apprentissage entre pairs</a:t>
            </a: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27" name="Subtitle 2">
            <a:extLst>
              <a:ext uri="{FF2B5EF4-FFF2-40B4-BE49-F238E27FC236}">
                <a16:creationId xmlns:a16="http://schemas.microsoft.com/office/drawing/2014/main" id="{8DA0E140-44B5-284A-AA9F-2FA1A3B1550C}"/>
              </a:ext>
            </a:extLst>
          </p:cNvPr>
          <p:cNvSpPr txBox="1">
            <a:spLocks/>
          </p:cNvSpPr>
          <p:nvPr/>
        </p:nvSpPr>
        <p:spPr>
          <a:xfrm>
            <a:off x="617260" y="2404118"/>
            <a:ext cx="10993546" cy="59032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600" kern="1200" cap="all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None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541FC17-69B5-46C3-937E-09F4337AAC87}"/>
              </a:ext>
            </a:extLst>
          </p:cNvPr>
          <p:cNvSpPr txBox="1"/>
          <p:nvPr/>
        </p:nvSpPr>
        <p:spPr>
          <a:xfrm>
            <a:off x="686423" y="5037582"/>
            <a:ext cx="1088831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CH" sz="2400" b="1" dirty="0"/>
              <a:t>La GFP et la vaccination contre la COVID-19</a:t>
            </a:r>
          </a:p>
          <a:p>
            <a:r>
              <a:rPr lang="fr-CH" sz="2400" dirty="0"/>
              <a:t>Hélène Barroy, </a:t>
            </a:r>
            <a:r>
              <a:rPr lang="fr-FR" sz="2400" dirty="0"/>
              <a:t>Spécialiste principale en finances publiques, Organisation mondiale de la Santé</a:t>
            </a:r>
            <a:endParaRPr lang="fr-CH" sz="2400" dirty="0"/>
          </a:p>
          <a:p>
            <a:endParaRPr lang="fr-CH" sz="240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E595B44-7043-416E-B612-9D6FB83434BE}"/>
              </a:ext>
            </a:extLst>
          </p:cNvPr>
          <p:cNvSpPr/>
          <p:nvPr/>
        </p:nvSpPr>
        <p:spPr>
          <a:xfrm>
            <a:off x="617259" y="3083932"/>
            <a:ext cx="1083711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gsw-FR" sz="1200" dirty="0">
              <a:solidFill>
                <a:schemeClr val="accent2"/>
              </a:solidFill>
            </a:endParaRPr>
          </a:p>
          <a:p>
            <a:r>
              <a:rPr lang="gsw-FR" sz="2400" b="1" dirty="0">
                <a:solidFill>
                  <a:schemeClr val="accent2"/>
                </a:solidFill>
              </a:rPr>
              <a:t>Organisé par CABRI | Les 13 et14 avril 2021</a:t>
            </a:r>
          </a:p>
        </p:txBody>
      </p:sp>
      <p:pic>
        <p:nvPicPr>
          <p:cNvPr id="13" name="Picture 6">
            <a:extLst>
              <a:ext uri="{FF2B5EF4-FFF2-40B4-BE49-F238E27FC236}">
                <a16:creationId xmlns:a16="http://schemas.microsoft.com/office/drawing/2014/main" id="{BA73AD58-C797-4C82-BD09-D50BD91C55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0831" y="5771822"/>
            <a:ext cx="2027602" cy="1013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37721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D66901-5902-45A9-A6D9-DBE5A94B93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CH" sz="3600" dirty="0"/>
              <a:t>CONTEXTE : La COVID-19 &amp; LE FINANCEMENT PUBLIC
</a:t>
            </a:r>
          </a:p>
        </p:txBody>
      </p:sp>
      <p:pic>
        <p:nvPicPr>
          <p:cNvPr id="9" name="Picture 8" descr="Chart, bar chart&#10;&#10;Description automatically generated">
            <a:extLst>
              <a:ext uri="{FF2B5EF4-FFF2-40B4-BE49-F238E27FC236}">
                <a16:creationId xmlns:a16="http://schemas.microsoft.com/office/drawing/2014/main" id="{B6DD3B4C-07EE-4519-B7CE-2FF842BE7D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849598" y="2289783"/>
            <a:ext cx="7897327" cy="4582164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06E3FFAA-F7F9-4D01-86C3-AEB63952EA0C}"/>
              </a:ext>
            </a:extLst>
          </p:cNvPr>
          <p:cNvSpPr/>
          <p:nvPr/>
        </p:nvSpPr>
        <p:spPr>
          <a:xfrm>
            <a:off x="1262743" y="1835452"/>
            <a:ext cx="1000034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dirty="0">
                <a:solidFill>
                  <a:schemeClr val="accent2"/>
                </a:solidFill>
              </a:rPr>
              <a:t>Affectations budgétaires par habitant à la réponse sanitaire à la COVID-19, par tranche de dépenses, en USD constant 2018 
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4994F17-E18B-4354-A898-DEDF86554182}"/>
              </a:ext>
            </a:extLst>
          </p:cNvPr>
          <p:cNvSpPr/>
          <p:nvPr/>
        </p:nvSpPr>
        <p:spPr>
          <a:xfrm>
            <a:off x="0" y="6402948"/>
            <a:ext cx="218258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CH" sz="1400" dirty="0"/>
              <a:t>Source :  GHED, OMS 2020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52D9BCC-2351-4383-AB23-85276D5F6477}"/>
              </a:ext>
            </a:extLst>
          </p:cNvPr>
          <p:cNvSpPr txBox="1"/>
          <p:nvPr/>
        </p:nvSpPr>
        <p:spPr>
          <a:xfrm>
            <a:off x="1879288" y="3202929"/>
            <a:ext cx="353943" cy="1713045"/>
          </a:xfrm>
          <a:prstGeom prst="rect">
            <a:avLst/>
          </a:prstGeom>
          <a:solidFill>
            <a:schemeClr val="bg1"/>
          </a:solidFill>
        </p:spPr>
        <p:txBody>
          <a:bodyPr vert="vert270" wrap="square" rtlCol="0">
            <a:spAutoFit/>
          </a:bodyPr>
          <a:lstStyle/>
          <a:p>
            <a:r>
              <a:rPr lang="fr-FR" sz="1100" dirty="0"/>
              <a:t>Nombre de pay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A60CB7F-F4E3-4C41-8C3F-289B9E7B5666}"/>
              </a:ext>
            </a:extLst>
          </p:cNvPr>
          <p:cNvSpPr txBox="1"/>
          <p:nvPr/>
        </p:nvSpPr>
        <p:spPr>
          <a:xfrm rot="5400000">
            <a:off x="6128590" y="3048029"/>
            <a:ext cx="523220" cy="5938166"/>
          </a:xfrm>
          <a:prstGeom prst="rect">
            <a:avLst/>
          </a:prstGeom>
          <a:solidFill>
            <a:schemeClr val="bg1"/>
          </a:solidFill>
        </p:spPr>
        <p:txBody>
          <a:bodyPr vert="vert270" wrap="square" rtlCol="0">
            <a:spAutoFit/>
          </a:bodyPr>
          <a:lstStyle/>
          <a:p>
            <a:r>
              <a:rPr lang="fr-FR" sz="1100" dirty="0">
                <a:latin typeface="Calibri" panose="020F0502020204030204" pitchFamily="34" charset="0"/>
                <a:cs typeface="Calibri" panose="020F0502020204030204" pitchFamily="34" charset="0"/>
              </a:rPr>
              <a:t>0 à 10 USD                               11 à 50 USD                               51 à 100 USD                               &gt; 100 USD</a:t>
            </a:r>
          </a:p>
          <a:p>
            <a:pPr algn="ctr"/>
            <a:r>
              <a:rPr lang="fr-FR" sz="1100" dirty="0">
                <a:latin typeface="Calibri" panose="020F0502020204030204" pitchFamily="34" charset="0"/>
                <a:cs typeface="Calibri" panose="020F0502020204030204" pitchFamily="34" charset="0"/>
              </a:rPr>
              <a:t>Allocations par habitan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EF50924-1FED-4A43-B0B8-9F70E12F39F1}"/>
              </a:ext>
            </a:extLst>
          </p:cNvPr>
          <p:cNvSpPr txBox="1"/>
          <p:nvPr/>
        </p:nvSpPr>
        <p:spPr>
          <a:xfrm rot="5400000">
            <a:off x="6284355" y="5356022"/>
            <a:ext cx="353943" cy="2182585"/>
          </a:xfrm>
          <a:prstGeom prst="rect">
            <a:avLst/>
          </a:prstGeom>
          <a:solidFill>
            <a:schemeClr val="bg1"/>
          </a:solidFill>
        </p:spPr>
        <p:txBody>
          <a:bodyPr vert="vert270" wrap="square" rtlCol="0">
            <a:spAutoFit/>
          </a:bodyPr>
          <a:lstStyle/>
          <a:p>
            <a:r>
              <a:rPr lang="fr-FR" sz="1100" dirty="0"/>
              <a:t>Pays à revenu intermédiaire  (n=60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768E8D9-5D14-4A7F-9A18-5AED1B2D3FEC}"/>
              </a:ext>
            </a:extLst>
          </p:cNvPr>
          <p:cNvSpPr txBox="1"/>
          <p:nvPr/>
        </p:nvSpPr>
        <p:spPr>
          <a:xfrm rot="5400000">
            <a:off x="8728288" y="5477492"/>
            <a:ext cx="353943" cy="1939645"/>
          </a:xfrm>
          <a:prstGeom prst="rect">
            <a:avLst/>
          </a:prstGeom>
          <a:solidFill>
            <a:schemeClr val="bg1"/>
          </a:solidFill>
        </p:spPr>
        <p:txBody>
          <a:bodyPr vert="vert270" wrap="square" rtlCol="0">
            <a:spAutoFit/>
          </a:bodyPr>
          <a:lstStyle/>
          <a:p>
            <a:r>
              <a:rPr lang="fr-FR" sz="1100" dirty="0"/>
              <a:t>Pays à revenu élevé (n= 37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5EF06EA-8745-4CF5-9E5B-D833A8F9FAC0}"/>
              </a:ext>
            </a:extLst>
          </p:cNvPr>
          <p:cNvSpPr txBox="1"/>
          <p:nvPr/>
        </p:nvSpPr>
        <p:spPr>
          <a:xfrm rot="5400000">
            <a:off x="3584868" y="5590791"/>
            <a:ext cx="353943" cy="1713045"/>
          </a:xfrm>
          <a:prstGeom prst="rect">
            <a:avLst/>
          </a:prstGeom>
          <a:solidFill>
            <a:schemeClr val="bg1"/>
          </a:solidFill>
        </p:spPr>
        <p:txBody>
          <a:bodyPr vert="vert270" wrap="square" rtlCol="0">
            <a:spAutoFit/>
          </a:bodyPr>
          <a:lstStyle/>
          <a:p>
            <a:r>
              <a:rPr lang="fr-FR" sz="1100" dirty="0"/>
              <a:t>Pays à faible revenu (n=16)</a:t>
            </a:r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70CD70ED-BD4E-467E-883C-4509969315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0831" y="5771822"/>
            <a:ext cx="2027602" cy="1013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69968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078A52F-85EA-4C0B-962B-D9D9DD4D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9797D5-5700-4683-B30A-5B4D56CB82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856A7B9-9801-42EC-A4C9-7E22A56EF5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8D10092-A860-4EFB-963F-A14DA36488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0286" y="614407"/>
            <a:ext cx="11309338" cy="118929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73FB91-12D1-47EA-AED1-F7DA233BE2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gsw-FR" sz="3600"/>
              <a:t>LA gfp est-ELLE importante ?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E32075D-9299-4657-87D7-B9987B7FDE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3" y="2180496"/>
            <a:ext cx="5404639" cy="404568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71EA50E3-40D8-41D8-BB1B-BDBE07B391FF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3"/>
          <a:srcRect l="22787" r="22818" b="2"/>
          <a:stretch/>
        </p:blipFill>
        <p:spPr>
          <a:xfrm>
            <a:off x="657225" y="2361056"/>
            <a:ext cx="4962525" cy="3649219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EDFD4F-6229-49B0-B4AD-490B227681C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36673" y="1971095"/>
            <a:ext cx="5408794" cy="4045683"/>
          </a:xfrm>
        </p:spPr>
        <p:txBody>
          <a:bodyPr vert="horz" lIns="91440" tIns="45720" rIns="91440" bIns="45720" rtlCol="0" anchor="ctr">
            <a:normAutofit fontScale="85000" lnSpcReduction="20000"/>
          </a:bodyPr>
          <a:lstStyle/>
          <a:p>
            <a:pPr marL="0" indent="0">
              <a:buNone/>
            </a:pPr>
            <a:r>
              <a:rPr lang="gsw-FR" sz="3100" b="1" dirty="0"/>
              <a:t>Principaux défis de GFP liés à la réponse à la COVID-19 (avant le déploiement du vaccin) :</a:t>
            </a:r>
          </a:p>
          <a:p>
            <a:pPr marL="0" indent="0">
              <a:buNone/>
            </a:pPr>
            <a:endParaRPr lang="gsw-FR" sz="3100" dirty="0"/>
          </a:p>
          <a:p>
            <a:pPr lvl="1">
              <a:buFont typeface="Wingdings" panose="05000000000000000000" pitchFamily="2" charset="2"/>
              <a:buChar char="§"/>
            </a:pPr>
            <a:r>
              <a:rPr lang="gsw-FR" sz="3200" dirty="0">
                <a:solidFill>
                  <a:schemeClr val="accent2"/>
                </a:solidFill>
              </a:rPr>
              <a:t>Rigidités de la formulation du budget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gsw-FR" sz="3200" dirty="0">
                <a:solidFill>
                  <a:schemeClr val="accent2"/>
                </a:solidFill>
              </a:rPr>
              <a:t>Modalités de dépenses désalignée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gsw-FR" sz="3200" dirty="0">
                <a:solidFill>
                  <a:schemeClr val="accent2"/>
                </a:solidFill>
              </a:rPr>
              <a:t>Faibles systèmes de reporting</a:t>
            </a:r>
            <a:endParaRPr lang="gsw-FR" dirty="0"/>
          </a:p>
          <a:p>
            <a:pPr lvl="1"/>
            <a:endParaRPr lang="gsw-FR" dirty="0"/>
          </a:p>
        </p:txBody>
      </p:sp>
      <p:sp>
        <p:nvSpPr>
          <p:cNvPr id="11" name="Rounded Rectangle 7">
            <a:extLst>
              <a:ext uri="{FF2B5EF4-FFF2-40B4-BE49-F238E27FC236}">
                <a16:creationId xmlns:a16="http://schemas.microsoft.com/office/drawing/2014/main" id="{9BD7CE01-A62C-457E-A980-01D9A575EE13}"/>
              </a:ext>
            </a:extLst>
          </p:cNvPr>
          <p:cNvSpPr/>
          <p:nvPr/>
        </p:nvSpPr>
        <p:spPr>
          <a:xfrm>
            <a:off x="3731509" y="2521819"/>
            <a:ext cx="1302503" cy="462951"/>
          </a:xfrm>
          <a:prstGeom prst="roundRect">
            <a:avLst/>
          </a:prstGeom>
          <a:ln>
            <a:solidFill>
              <a:srgbClr val="00679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spcAft>
                <a:spcPts val="0"/>
              </a:spcAft>
            </a:pPr>
            <a:r>
              <a:rPr lang="gsw-FR" sz="900" b="1" dirty="0">
                <a:solidFill>
                  <a:schemeClr val="accent2"/>
                </a:solidFill>
                <a:ea typeface="DengXian"/>
                <a:cs typeface="Arial"/>
              </a:rPr>
              <a:t>Formulation/ Élaboration du budget</a:t>
            </a:r>
            <a:endParaRPr lang="gsw-FR" sz="900" b="1" dirty="0">
              <a:solidFill>
                <a:schemeClr val="accent2"/>
              </a:solidFill>
              <a:effectLst/>
              <a:latin typeface="Times New Roman"/>
              <a:ea typeface="DengXian"/>
            </a:endParaRPr>
          </a:p>
        </p:txBody>
      </p:sp>
      <p:sp>
        <p:nvSpPr>
          <p:cNvPr id="13" name="Rounded Rectangle 7">
            <a:extLst>
              <a:ext uri="{FF2B5EF4-FFF2-40B4-BE49-F238E27FC236}">
                <a16:creationId xmlns:a16="http://schemas.microsoft.com/office/drawing/2014/main" id="{491754A0-2A02-4115-9870-2E1A7D8A223D}"/>
              </a:ext>
            </a:extLst>
          </p:cNvPr>
          <p:cNvSpPr/>
          <p:nvPr/>
        </p:nvSpPr>
        <p:spPr>
          <a:xfrm>
            <a:off x="2436679" y="5636566"/>
            <a:ext cx="1177710" cy="264563"/>
          </a:xfrm>
          <a:prstGeom prst="roundRect">
            <a:avLst/>
          </a:prstGeom>
          <a:ln>
            <a:solidFill>
              <a:srgbClr val="00679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spcAft>
                <a:spcPts val="0"/>
              </a:spcAft>
            </a:pPr>
            <a:r>
              <a:rPr lang="gsw-FR" sz="900" b="1" dirty="0">
                <a:solidFill>
                  <a:schemeClr val="accent2"/>
                </a:solidFill>
                <a:ea typeface="DengXian"/>
                <a:cs typeface="Arial"/>
              </a:rPr>
              <a:t>Exécution du budget</a:t>
            </a:r>
            <a:endParaRPr lang="gsw-FR" sz="900" dirty="0">
              <a:solidFill>
                <a:schemeClr val="accent2"/>
              </a:solidFill>
              <a:effectLst/>
              <a:latin typeface="Times New Roman"/>
              <a:ea typeface="DengXian"/>
            </a:endParaRPr>
          </a:p>
        </p:txBody>
      </p:sp>
      <p:sp>
        <p:nvSpPr>
          <p:cNvPr id="15" name="Rounded Rectangle 7">
            <a:extLst>
              <a:ext uri="{FF2B5EF4-FFF2-40B4-BE49-F238E27FC236}">
                <a16:creationId xmlns:a16="http://schemas.microsoft.com/office/drawing/2014/main" id="{3BE33A49-C2F7-4A73-AC3E-90D8645CBEFB}"/>
              </a:ext>
            </a:extLst>
          </p:cNvPr>
          <p:cNvSpPr/>
          <p:nvPr/>
        </p:nvSpPr>
        <p:spPr>
          <a:xfrm>
            <a:off x="1444493" y="2703279"/>
            <a:ext cx="1020640" cy="299634"/>
          </a:xfrm>
          <a:prstGeom prst="roundRect">
            <a:avLst/>
          </a:prstGeom>
          <a:ln>
            <a:solidFill>
              <a:srgbClr val="00679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anchor="ctr">
            <a:noAutofit/>
          </a:bodyPr>
          <a:lstStyle/>
          <a:p>
            <a:pPr algn="ctr">
              <a:spcAft>
                <a:spcPts val="0"/>
              </a:spcAft>
            </a:pPr>
            <a:r>
              <a:rPr lang="gsw-FR" sz="900" b="1" dirty="0">
                <a:solidFill>
                  <a:schemeClr val="accent2"/>
                </a:solidFill>
                <a:ea typeface="DengXian"/>
                <a:cs typeface="Arial"/>
              </a:rPr>
              <a:t>Suivi du budget</a:t>
            </a:r>
            <a:endParaRPr lang="gsw-FR" sz="900" dirty="0">
              <a:solidFill>
                <a:schemeClr val="accent2"/>
              </a:solidFill>
              <a:effectLst/>
              <a:latin typeface="Times New Roman"/>
              <a:ea typeface="DengXian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F6FBDEC-2B0A-4453-A51D-EEDDC5E50ECC}"/>
              </a:ext>
            </a:extLst>
          </p:cNvPr>
          <p:cNvSpPr txBox="1"/>
          <p:nvPr/>
        </p:nvSpPr>
        <p:spPr>
          <a:xfrm>
            <a:off x="1932067" y="6423042"/>
            <a:ext cx="21393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CH" sz="1400" dirty="0"/>
              <a:t>Source : OMS &amp; R4D, 2017</a:t>
            </a:r>
          </a:p>
        </p:txBody>
      </p:sp>
      <p:pic>
        <p:nvPicPr>
          <p:cNvPr id="20" name="Picture 6">
            <a:extLst>
              <a:ext uri="{FF2B5EF4-FFF2-40B4-BE49-F238E27FC236}">
                <a16:creationId xmlns:a16="http://schemas.microsoft.com/office/drawing/2014/main" id="{4816A39D-606E-452E-A8FB-F256F5BB18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0831" y="5771822"/>
            <a:ext cx="2027602" cy="1013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B9DCF0B-17D8-4A6D-AE61-F20D5494AA08}"/>
              </a:ext>
            </a:extLst>
          </p:cNvPr>
          <p:cNvSpPr/>
          <p:nvPr/>
        </p:nvSpPr>
        <p:spPr>
          <a:xfrm>
            <a:off x="3314024" y="3199305"/>
            <a:ext cx="1068736" cy="1004032"/>
          </a:xfrm>
          <a:prstGeom prst="rect">
            <a:avLst/>
          </a:prstGeom>
          <a:solidFill>
            <a:srgbClr val="8ADDFA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dirty="0">
                <a:solidFill>
                  <a:schemeClr val="tx1"/>
                </a:solidFill>
              </a:rPr>
              <a:t>Comment sont déterminées les priorités de dépenses publiques et comment sont  alloués les fonds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8CBACF0-DC9B-408E-BAD2-90DDDD352FBD}"/>
              </a:ext>
            </a:extLst>
          </p:cNvPr>
          <p:cNvSpPr/>
          <p:nvPr/>
        </p:nvSpPr>
        <p:spPr>
          <a:xfrm>
            <a:off x="2293258" y="4660639"/>
            <a:ext cx="1604974" cy="866781"/>
          </a:xfrm>
          <a:prstGeom prst="rect">
            <a:avLst/>
          </a:prstGeom>
          <a:solidFill>
            <a:srgbClr val="91BCE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dirty="0">
                <a:solidFill>
                  <a:schemeClr val="tx1"/>
                </a:solidFill>
              </a:rPr>
              <a:t>Comment circulent les fonds dans le système de santé et comment sont payés les prestataires de biens et services 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8A03D18-599D-443B-8D0F-7FC731D7F33D}"/>
              </a:ext>
            </a:extLst>
          </p:cNvPr>
          <p:cNvSpPr/>
          <p:nvPr/>
        </p:nvSpPr>
        <p:spPr>
          <a:xfrm>
            <a:off x="1956796" y="3183474"/>
            <a:ext cx="1068737" cy="94534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900" dirty="0">
                <a:solidFill>
                  <a:schemeClr val="tx1"/>
                </a:solidFill>
              </a:rPr>
              <a:t>Comment sont justifiées les dépenses publiques et comment sont obtenus les résultats</a:t>
            </a:r>
          </a:p>
        </p:txBody>
      </p:sp>
    </p:spTree>
    <p:extLst>
      <p:ext uri="{BB962C8B-B14F-4D97-AF65-F5344CB8AC3E}">
        <p14:creationId xmlns:p14="http://schemas.microsoft.com/office/powerpoint/2010/main" val="10819523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5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BA3274-E4D0-4547-9410-53EE16065A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>
            <a:normAutofit/>
          </a:bodyPr>
          <a:lstStyle/>
          <a:p>
            <a:r>
              <a:rPr lang="en-US" sz="3600" dirty="0">
                <a:solidFill>
                  <a:srgbClr val="FFFEFF"/>
                </a:solidFill>
              </a:rPr>
              <a:t>Le </a:t>
            </a:r>
            <a:r>
              <a:rPr lang="fr-FR" sz="3600" dirty="0">
                <a:solidFill>
                  <a:srgbClr val="FFFEFF"/>
                </a:solidFill>
              </a:rPr>
              <a:t>travail de GFP sur LA covid-19 de l’OMS</a:t>
            </a:r>
            <a:endParaRPr lang="fr-CH" sz="3600" dirty="0">
              <a:solidFill>
                <a:srgbClr val="FFFEFF"/>
              </a:solidFill>
            </a:endParaRPr>
          </a:p>
        </p:txBody>
      </p:sp>
      <p:graphicFrame>
        <p:nvGraphicFramePr>
          <p:cNvPr id="5" name="Content Placeholder 2">
            <a:extLst>
              <a:ext uri="{FF2B5EF4-FFF2-40B4-BE49-F238E27FC236}">
                <a16:creationId xmlns:a16="http://schemas.microsoft.com/office/drawing/2014/main" id="{CB1CB484-09FF-4F1A-911B-8626AE2A93F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97310117"/>
              </p:ext>
            </p:extLst>
          </p:nvPr>
        </p:nvGraphicFramePr>
        <p:xfrm>
          <a:off x="581192" y="1944914"/>
          <a:ext cx="11029950" cy="4572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AF7EDD74-2E6A-4530-9796-5A169B981325}"/>
              </a:ext>
            </a:extLst>
          </p:cNvPr>
          <p:cNvSpPr/>
          <p:nvPr/>
        </p:nvSpPr>
        <p:spPr>
          <a:xfrm>
            <a:off x="671596" y="5384800"/>
            <a:ext cx="10848808" cy="64792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E4F1C819-D25E-4B65-8D08-670A016766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40831" y="5771822"/>
            <a:ext cx="2027602" cy="1013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982918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6" name="Rectangle 25">
            <a:extLst>
              <a:ext uri="{FF2B5EF4-FFF2-40B4-BE49-F238E27FC236}">
                <a16:creationId xmlns:a16="http://schemas.microsoft.com/office/drawing/2014/main" id="{28D511D2-9CF1-40DE-BB88-A5A48A0E8A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E0E8983-2AEB-4A71-AF6C-419CBBF8990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738" r="9091" b="6784"/>
          <a:stretch/>
        </p:blipFill>
        <p:spPr>
          <a:xfrm>
            <a:off x="20" y="10"/>
            <a:ext cx="12191980" cy="6857990"/>
          </a:xfrm>
          <a:prstGeom prst="rect">
            <a:avLst/>
          </a:prstGeom>
        </p:spPr>
      </p:pic>
      <p:grpSp>
        <p:nvGrpSpPr>
          <p:cNvPr id="28" name="Group 27">
            <a:extLst>
              <a:ext uri="{FF2B5EF4-FFF2-40B4-BE49-F238E27FC236}">
                <a16:creationId xmlns:a16="http://schemas.microsoft.com/office/drawing/2014/main" id="{40ADCA80-A0B1-4379-94EC-0A1A73BE1E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438068" y="457200"/>
            <a:ext cx="3703320" cy="5935132"/>
            <a:chOff x="438068" y="457200"/>
            <a:chExt cx="3703320" cy="5935132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EB4D79C-3A0E-4CB5-9A3D-BB816FD52C76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38068" y="618067"/>
              <a:ext cx="3702134" cy="5774265"/>
            </a:xfrm>
            <a:prstGeom prst="rect">
              <a:avLst/>
            </a:prstGeom>
            <a:solidFill>
              <a:schemeClr val="accent1">
                <a:alpha val="97000"/>
              </a:schemeClr>
            </a:solidFill>
            <a:ln w="6350" cmpd="sng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3839C3D0-536E-4C48-A1C1-D9B718A84360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438068" y="457200"/>
              <a:ext cx="3703320" cy="9499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7599DA64-33CD-4F0D-9A5B-51FFFB2C9E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8135" y="837398"/>
            <a:ext cx="3412067" cy="5402535"/>
          </a:xfrm>
        </p:spPr>
        <p:txBody>
          <a:bodyPr>
            <a:normAutofit/>
          </a:bodyPr>
          <a:lstStyle/>
          <a:p>
            <a:pPr>
              <a:lnSpc>
                <a:spcPct val="90000"/>
              </a:lnSpc>
            </a:pPr>
            <a:r>
              <a:rPr lang="fr-FR" sz="2700" cap="none" dirty="0">
                <a:solidFill>
                  <a:schemeClr val="bg1"/>
                </a:solidFill>
              </a:rPr>
              <a:t>Le déploiement du vaccin contre la COVID-19 est affecté par des goulets d’étranglement de GFP systémiques et propres  à la vaccination</a:t>
            </a:r>
            <a:r>
              <a:rPr lang="fr-CH" sz="2700" cap="none" dirty="0">
                <a:solidFill>
                  <a:schemeClr val="bg1"/>
                </a:solidFill>
              </a:rPr>
              <a:t>…</a:t>
            </a:r>
            <a:br>
              <a:rPr lang="fr-CH" sz="2700" cap="none" dirty="0">
                <a:solidFill>
                  <a:schemeClr val="bg1"/>
                </a:solidFill>
              </a:rPr>
            </a:br>
            <a:br>
              <a:rPr lang="fr-CH" sz="3300" cap="none" dirty="0">
                <a:solidFill>
                  <a:schemeClr val="bg1"/>
                </a:solidFill>
              </a:rPr>
            </a:br>
            <a:r>
              <a:rPr lang="fr-FR" sz="2700" cap="none" dirty="0">
                <a:solidFill>
                  <a:srgbClr val="FF0000"/>
                </a:solidFill>
              </a:rPr>
              <a:t>Il se peut toutefois, que ces goulets d’étranglement ne soient pas bien pris en compte dans les plans de déploiement</a:t>
            </a:r>
            <a:endParaRPr lang="fr-CH" sz="27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51415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65A6F4-A0F7-4492-BE1A-D8287D6254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gsw-FR"/>
              <a:t>Cartographier les principaLES QUESTIONS de GFP pour le déploiement du vaccin contre la COVID-19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0E33AA-13EA-4BB2-96EF-C8D3486FECE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CH" dirty="0"/>
              <a:t>FORMULATION DU BUDGE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9C34E9E-C048-4072-8407-C94BBA62D95D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fr-CH" sz="2400" dirty="0"/>
              <a:t>Prévisions budgétaires</a:t>
            </a:r>
          </a:p>
          <a:p>
            <a:r>
              <a:rPr lang="fr-CH" sz="2400" dirty="0"/>
              <a:t>Planification budgétaire</a:t>
            </a:r>
          </a:p>
          <a:p>
            <a:r>
              <a:rPr lang="fr-CH" sz="2400" dirty="0"/>
              <a:t>Structure du budget</a:t>
            </a:r>
          </a:p>
          <a:p>
            <a:r>
              <a:rPr lang="fr-CH" sz="2400" dirty="0"/>
              <a:t>Responsables du budge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ED0955-04BC-46BC-A472-4737615FF0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fr-CH" dirty="0"/>
              <a:t>EXÉCUTION DU BUDGE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76ED05D-ED4F-4DF1-9BCD-44233067C56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17709" y="2926052"/>
            <a:ext cx="5393100" cy="3202290"/>
          </a:xfrm>
        </p:spPr>
        <p:txBody>
          <a:bodyPr>
            <a:normAutofit fontScale="92500" lnSpcReduction="20000"/>
          </a:bodyPr>
          <a:lstStyle/>
          <a:p>
            <a:r>
              <a:rPr lang="gsw-FR" sz="2400" dirty="0"/>
              <a:t>Autorisation de dépenses au niveau de l’administration centrale et infranationale</a:t>
            </a:r>
          </a:p>
          <a:p>
            <a:r>
              <a:rPr lang="gsw-FR" sz="2400" dirty="0"/>
              <a:t>Règles de passation des marchés</a:t>
            </a:r>
          </a:p>
          <a:p>
            <a:r>
              <a:rPr lang="gsw-FR" sz="2400" dirty="0"/>
              <a:t>Modalités de passation des contrats avec les prestataires</a:t>
            </a:r>
          </a:p>
          <a:p>
            <a:r>
              <a:rPr lang="gsw-FR" sz="2400" dirty="0"/>
              <a:t>Paiement des prestataires et       incitations qui leur sont offertes</a:t>
            </a:r>
          </a:p>
          <a:p>
            <a:r>
              <a:rPr lang="gsw-FR" sz="2400" dirty="0"/>
              <a:t>Règles d’utilisation des ressources         par les prestataires </a:t>
            </a:r>
            <a:endParaRPr lang="gsw-FR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AE2978AA-74A8-4AF9-9F78-987E9A4598C4}"/>
              </a:ext>
            </a:extLst>
          </p:cNvPr>
          <p:cNvSpPr/>
          <p:nvPr/>
        </p:nvSpPr>
        <p:spPr>
          <a:xfrm>
            <a:off x="581191" y="3614057"/>
            <a:ext cx="3294123" cy="1202944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04B6D560-A26B-4F4F-8159-179F927C18EC}"/>
              </a:ext>
            </a:extLst>
          </p:cNvPr>
          <p:cNvSpPr/>
          <p:nvPr/>
        </p:nvSpPr>
        <p:spPr>
          <a:xfrm>
            <a:off x="5773150" y="4548644"/>
            <a:ext cx="5087076" cy="1701485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8842872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F59BEA-3691-4851-99D9-7442F4E259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192" y="702156"/>
            <a:ext cx="11029616" cy="1013800"/>
          </a:xfrm>
        </p:spPr>
        <p:txBody>
          <a:bodyPr>
            <a:normAutofit/>
          </a:bodyPr>
          <a:lstStyle/>
          <a:p>
            <a:r>
              <a:rPr lang="gsw-FR" sz="3600"/>
              <a:t>Quelques rÉflexions en guise de conclusion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DE06C21-6F24-4173-BD6D-BDACCA1D6BE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66901"/>
            <a:ext cx="8142491" cy="4902200"/>
          </a:xfrm>
        </p:spPr>
        <p:txBody>
          <a:bodyPr>
            <a:normAutofit/>
          </a:bodyPr>
          <a:lstStyle/>
          <a:p>
            <a:r>
              <a:rPr lang="fr-FR" sz="2300" dirty="0"/>
              <a:t>La GFP </a:t>
            </a:r>
            <a:r>
              <a:rPr lang="fr-FR" sz="2300" dirty="0">
                <a:solidFill>
                  <a:schemeClr val="accent2"/>
                </a:solidFill>
              </a:rPr>
              <a:t>n’est pas une question de seconde catégorie </a:t>
            </a:r>
            <a:r>
              <a:rPr lang="fr-FR" sz="2300" dirty="0"/>
              <a:t>quand on parle de la COVID-19
</a:t>
            </a:r>
            <a:r>
              <a:rPr lang="fr-FR" sz="2300" dirty="0">
                <a:solidFill>
                  <a:schemeClr val="accent2"/>
                </a:solidFill>
              </a:rPr>
              <a:t>L’ajustement des systèmes de GFP </a:t>
            </a:r>
            <a:r>
              <a:rPr lang="fr-FR" sz="2300" dirty="0">
                <a:solidFill>
                  <a:schemeClr val="tx1"/>
                </a:solidFill>
              </a:rPr>
              <a:t>peut garantir que les fonds sont alloués rapidement et que ceux qui sont en première ligne peuvent y accéder et les dépenser efficacement.</a:t>
            </a:r>
            <a:endParaRPr lang="en-US" sz="2300" dirty="0">
              <a:solidFill>
                <a:schemeClr val="tx1"/>
              </a:solidFill>
            </a:endParaRPr>
          </a:p>
          <a:p>
            <a:r>
              <a:rPr lang="fr-FR" sz="2300" dirty="0">
                <a:solidFill>
                  <a:schemeClr val="accent2"/>
                </a:solidFill>
              </a:rPr>
              <a:t>Le maintien de certains ajustements de GFP tout au long de la phase de redressement </a:t>
            </a:r>
            <a:r>
              <a:rPr lang="fr-FR" sz="2300" dirty="0">
                <a:solidFill>
                  <a:schemeClr val="tx1"/>
                </a:solidFill>
              </a:rPr>
              <a:t>peut créer un environnement de GFP plus propice aux dépenses de santé futures.</a:t>
            </a:r>
            <a:r>
              <a:rPr lang="fr-FR" sz="2300" dirty="0">
                <a:solidFill>
                  <a:schemeClr val="accent2"/>
                </a:solidFill>
              </a:rPr>
              <a:t>
</a:t>
            </a:r>
            <a:r>
              <a:rPr lang="fr-FR" sz="2300" dirty="0">
                <a:solidFill>
                  <a:schemeClr val="tx1"/>
                </a:solidFill>
              </a:rPr>
              <a:t>La pandémie de </a:t>
            </a:r>
            <a:r>
              <a:rPr lang="fr-FR" sz="2300" dirty="0"/>
              <a:t>COVID-19 permet d’établir </a:t>
            </a:r>
            <a:r>
              <a:rPr lang="fr-FR" sz="2300" u="sng" dirty="0">
                <a:solidFill>
                  <a:schemeClr val="accent2"/>
                </a:solidFill>
              </a:rPr>
              <a:t>une compréhension renouvelée des goulets d’étranglement en matière de GFP</a:t>
            </a:r>
            <a:r>
              <a:rPr lang="fr-FR" sz="2300" dirty="0"/>
              <a:t> ainsi que de créer de nouvelles solutions de politiques entre les autorités de la santé et celles de la GFP</a:t>
            </a:r>
            <a:r>
              <a:rPr lang="en-US" sz="2300" dirty="0"/>
              <a:t>.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CEBDFAE-435D-4EF6-AE04-36180A16BC78}"/>
              </a:ext>
            </a:extLst>
          </p:cNvPr>
          <p:cNvSpPr txBox="1">
            <a:spLocks/>
          </p:cNvSpPr>
          <p:nvPr/>
        </p:nvSpPr>
        <p:spPr>
          <a:xfrm>
            <a:off x="0" y="3302893"/>
            <a:ext cx="7225075" cy="367830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 2" panose="05020102010507070707" pitchFamily="18" charset="2"/>
              <a:buNone/>
            </a:pPr>
            <a:endParaRPr lang="fr-CH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2E1F20-CA3D-4206-B475-34A00FA05DF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2"/>
          <a:stretch/>
        </p:blipFill>
        <p:spPr bwMode="auto">
          <a:xfrm>
            <a:off x="8599691" y="2435807"/>
            <a:ext cx="3135109" cy="3471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>
            <a:extLst>
              <a:ext uri="{FF2B5EF4-FFF2-40B4-BE49-F238E27FC236}">
                <a16:creationId xmlns:a16="http://schemas.microsoft.com/office/drawing/2014/main" id="{0293581D-02F5-4336-B5DF-557C0162BF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42812" y="5844199"/>
            <a:ext cx="2027602" cy="1013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66208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rotWithShape="1">
          <a:gsLst>
            <a:gs pos="0">
              <a:schemeClr val="bg2">
                <a:tint val="90000"/>
                <a:lumMod val="110000"/>
              </a:schemeClr>
            </a:gs>
            <a:gs pos="100000">
              <a:schemeClr val="bg2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CE8BCA1D-ACDF-4D63-9AA0-366C4F8553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1999" cy="6858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93708C-1ACD-4284-945A-A02CB872A4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6228" y="1037967"/>
            <a:ext cx="3054091" cy="4709131"/>
          </a:xfrm>
        </p:spPr>
        <p:txBody>
          <a:bodyPr anchor="ctr">
            <a:normAutofit/>
          </a:bodyPr>
          <a:lstStyle/>
          <a:p>
            <a:r>
              <a:rPr lang="fr-CH" sz="3600" dirty="0">
                <a:solidFill>
                  <a:schemeClr val="accent1"/>
                </a:solidFill>
              </a:rPr>
              <a:t>RÉFÉRENCES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DB82E3F-D9C4-42E7-AABF-D760C2F561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6534" y="457200"/>
            <a:ext cx="3703320" cy="94997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5F145784-B126-48E6-B33B-0BEA2EBF18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1830" y="457200"/>
            <a:ext cx="3703320" cy="9144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6AD7FED-ECA8-4F84-9067-C1B1E9610F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042147" y="453643"/>
            <a:ext cx="3703320" cy="98554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74DF12F2-5059-41AC-A8BD-D5E115CDC2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246851" y="723898"/>
            <a:ext cx="7498616" cy="5676901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graphicFrame>
        <p:nvGraphicFramePr>
          <p:cNvPr id="28" name="Content Placeholder 2">
            <a:extLst>
              <a:ext uri="{FF2B5EF4-FFF2-40B4-BE49-F238E27FC236}">
                <a16:creationId xmlns:a16="http://schemas.microsoft.com/office/drawing/2014/main" id="{47F5D783-6A03-4195-9E86-D0CB5660DD7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35624361"/>
              </p:ext>
            </p:extLst>
          </p:nvPr>
        </p:nvGraphicFramePr>
        <p:xfrm>
          <a:off x="4598438" y="1348755"/>
          <a:ext cx="7012370" cy="470913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31305323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sb2sVfSUeRb6lou2Ru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0tWjjxYkGFQG0yA5osZ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1lipXnJE6ovyh4G8z36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WCziMLa0Kay12HMEHkV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EJnD25EEKxglu3kiH1TQ"/>
</p:tagLst>
</file>

<file path=ppt/theme/theme1.xml><?xml version="1.0" encoding="utf-8"?>
<a:theme xmlns:a="http://schemas.openxmlformats.org/drawingml/2006/main" name="Dividend">
  <a:themeElements>
    <a:clrScheme name="Dividend">
      <a:dk1>
        <a:sysClr val="windowText" lastClr="000000"/>
      </a:dk1>
      <a:lt1>
        <a:sysClr val="window" lastClr="FFFFFF"/>
      </a:lt1>
      <a:dk2>
        <a:srgbClr val="3D3D3D"/>
      </a:dk2>
      <a:lt2>
        <a:srgbClr val="EBEBEB"/>
      </a:lt2>
      <a:accent1>
        <a:srgbClr val="1A3260"/>
      </a:accent1>
      <a:accent2>
        <a:srgbClr val="4590B8"/>
      </a:accent2>
      <a:accent3>
        <a:srgbClr val="45CBE8"/>
      </a:accent3>
      <a:accent4>
        <a:srgbClr val="969FA7"/>
      </a:accent4>
      <a:accent5>
        <a:srgbClr val="A2C777"/>
      </a:accent5>
      <a:accent6>
        <a:srgbClr val="42955F"/>
      </a:accent6>
      <a:hlink>
        <a:srgbClr val="828282"/>
      </a:hlink>
      <a:folHlink>
        <a:srgbClr val="A5A5A5"/>
      </a:folHlink>
    </a:clrScheme>
    <a:fontScheme name="Dividend">
      <a:maj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Gill Sans MT" panose="020B0502020104020203"/>
        <a:ea typeface=""/>
        <a:cs typeface=""/>
        <a:font script="Grek" typeface="Corbel"/>
        <a:font script="Cyrl" typeface="Corbel"/>
        <a:font script="Jpan" typeface="HGｺﾞｼｯｸE"/>
        <a:font script="Hang" typeface="휴먼매직체"/>
        <a:font script="Hans" typeface="华文中宋"/>
        <a:font script="Hant" typeface="微軟正黑體"/>
        <a:font script="Arab" typeface="Majalla U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Dividend">
      <a:fillStyleLst>
        <a:solidFill>
          <a:schemeClr val="phClr"/>
        </a:solidFill>
        <a:gradFill rotWithShape="1">
          <a:gsLst>
            <a:gs pos="0">
              <a:schemeClr val="phClr">
                <a:tint val="68000"/>
                <a:alpha val="90000"/>
                <a:lumMod val="100000"/>
              </a:schemeClr>
            </a:gs>
            <a:gs pos="100000">
              <a:schemeClr val="phClr">
                <a:tint val="90000"/>
                <a:lumMod val="95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98000"/>
                <a:lumMod val="110000"/>
              </a:schemeClr>
            </a:gs>
            <a:gs pos="84000">
              <a:schemeClr val="phClr">
                <a:shade val="90000"/>
                <a:lumMod val="88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>
              <a:lumMod val="90000"/>
            </a:schemeClr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55000"/>
              </a:srgbClr>
            </a:outerShdw>
          </a:effectLst>
        </a:effectStyle>
        <a:effectStyle>
          <a:effectLst>
            <a:outerShdw blurRad="88900" dist="38100" dir="504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1200000"/>
            </a:lightRig>
          </a:scene3d>
          <a:sp3d>
            <a:bevelT w="381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88000">
              <a:schemeClr val="phClr">
                <a:shade val="94000"/>
                <a:satMod val="110000"/>
                <a:lumMod val="8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8000"/>
                <a:satMod val="110000"/>
                <a:lumMod val="8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ividend" id="{9697A71B-4AB7-4A1A-BD5B-BB2D22835B57}" vid="{66F1C100-1D2B-4BEA-AD01-C4F230B3B965}"/>
    </a:ext>
  </a:extLst>
</a:theme>
</file>

<file path=ppt/theme/theme2.xml><?xml version="1.0" encoding="utf-8"?>
<a:theme xmlns:a="http://schemas.openxmlformats.org/drawingml/2006/main" name="Custom Design">
  <a:themeElements>
    <a:clrScheme name="EGCL Colors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F2D4"/>
      </a:accent1>
      <a:accent2>
        <a:srgbClr val="FB8C23"/>
      </a:accent2>
      <a:accent3>
        <a:srgbClr val="7F7F7F"/>
      </a:accent3>
      <a:accent4>
        <a:srgbClr val="D8D8D8"/>
      </a:accent4>
      <a:accent5>
        <a:srgbClr val="1D3F86"/>
      </a:accent5>
      <a:accent6>
        <a:srgbClr val="424242"/>
      </a:accent6>
      <a:hlink>
        <a:srgbClr val="0C19FF"/>
      </a:hlink>
      <a:folHlink>
        <a:srgbClr val="0097A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694BAD71727FD4FB78CC25DFF71DC95" ma:contentTypeVersion="13" ma:contentTypeDescription="Create a new document." ma:contentTypeScope="" ma:versionID="a345c0dd52640c7f305c3b4bf16b93ed">
  <xsd:schema xmlns:xsd="http://www.w3.org/2001/XMLSchema" xmlns:xs="http://www.w3.org/2001/XMLSchema" xmlns:p="http://schemas.microsoft.com/office/2006/metadata/properties" xmlns:ns3="c6ce4210-016e-4e03-889b-f8228820b3fd" xmlns:ns4="09694a41-f11f-46f9-89da-8857e777819d" targetNamespace="http://schemas.microsoft.com/office/2006/metadata/properties" ma:root="true" ma:fieldsID="acfd95c2f2227079f2a5023a1c4a61f0" ns3:_="" ns4:_="">
    <xsd:import namespace="c6ce4210-016e-4e03-889b-f8228820b3fd"/>
    <xsd:import namespace="09694a41-f11f-46f9-89da-8857e777819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6ce4210-016e-4e03-889b-f8228820b3f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694a41-f11f-46f9-89da-8857e777819d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8FABA72-1509-4FB0-82E1-22068D14DCF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902E092-1D5E-4893-A1C9-D368B6D8F4D0}">
  <ds:schemaRefs>
    <ds:schemaRef ds:uri="http://schemas.microsoft.com/office/2006/documentManagement/types"/>
    <ds:schemaRef ds:uri="http://purl.org/dc/elements/1.1/"/>
    <ds:schemaRef ds:uri="09694a41-f11f-46f9-89da-8857e777819d"/>
    <ds:schemaRef ds:uri="http://schemas.microsoft.com/office/infopath/2007/PartnerControls"/>
    <ds:schemaRef ds:uri="http://www.w3.org/XML/1998/namespace"/>
    <ds:schemaRef ds:uri="http://purl.org/dc/dcmitype/"/>
    <ds:schemaRef ds:uri="c6ce4210-016e-4e03-889b-f8228820b3fd"/>
    <ds:schemaRef ds:uri="http://schemas.openxmlformats.org/package/2006/metadata/core-properties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1323F1B2-DBA4-407A-8A92-5494EB04A1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6ce4210-016e-4e03-889b-f8228820b3fd"/>
    <ds:schemaRef ds:uri="09694a41-f11f-46f9-89da-8857e77781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844</TotalTime>
  <Words>755</Words>
  <Application>Microsoft Office PowerPoint</Application>
  <PresentationFormat>Widescreen</PresentationFormat>
  <Paragraphs>61</Paragraphs>
  <Slides>8</Slides>
  <Notes>7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8</vt:i4>
      </vt:variant>
    </vt:vector>
  </HeadingPairs>
  <TitlesOfParts>
    <vt:vector size="20" baseType="lpstr">
      <vt:lpstr>Arial</vt:lpstr>
      <vt:lpstr>Calibri</vt:lpstr>
      <vt:lpstr>Century Gothic</vt:lpstr>
      <vt:lpstr>Gill Sans MT</vt:lpstr>
      <vt:lpstr>Lato</vt:lpstr>
      <vt:lpstr>Times New Roman</vt:lpstr>
      <vt:lpstr>Wingdings</vt:lpstr>
      <vt:lpstr>Wingdings 2</vt:lpstr>
      <vt:lpstr>Wingdings 3</vt:lpstr>
      <vt:lpstr>Dividend</vt:lpstr>
      <vt:lpstr>Custom Design</vt:lpstr>
      <vt:lpstr>1_Custom Design</vt:lpstr>
      <vt:lpstr> Financement,  ACHAT et distribution des vaccins CONTRE LA COVID-19 en Afrique : événement en ligne d’échange et d’apprentissage entre pairs</vt:lpstr>
      <vt:lpstr>CONTEXTE : La COVID-19 &amp; LE FINANCEMENT PUBLIC
</vt:lpstr>
      <vt:lpstr>LA gfp est-ELLE importante ?</vt:lpstr>
      <vt:lpstr>Le travail de GFP sur LA covid-19 de l’OMS</vt:lpstr>
      <vt:lpstr>Le déploiement du vaccin contre la COVID-19 est affecté par des goulets d’étranglement de GFP systémiques et propres  à la vaccination…  Il se peut toutefois, que ces goulets d’étranglement ne soient pas bien pris en compte dans les plans de déploiement</vt:lpstr>
      <vt:lpstr>Cartographier les principaLES QUESTIONS de GFP pour le déploiement du vaccin contre la COVID-19</vt:lpstr>
      <vt:lpstr>Quelques rÉflexions en guise de conclusion</vt:lpstr>
      <vt:lpstr>RÉFÉRENC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RROY, Hélène</dc:creator>
  <cp:lastModifiedBy>Valérie Howell</cp:lastModifiedBy>
  <cp:revision>79</cp:revision>
  <cp:lastPrinted>2021-04-09T18:06:04Z</cp:lastPrinted>
  <dcterms:created xsi:type="dcterms:W3CDTF">2021-03-29T10:45:19Z</dcterms:created>
  <dcterms:modified xsi:type="dcterms:W3CDTF">2021-04-13T17:45:18Z</dcterms:modified>
</cp:coreProperties>
</file>